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2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harts/chart3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charts/chart4.xml" ContentType="application/vnd.openxmlformats-officedocument.drawingml.chart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charts/chart5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charts/chart1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754" r:id="rId1"/>
  </p:sldMasterIdLst>
  <p:notesMasterIdLst>
    <p:notesMasterId r:id="rId13"/>
  </p:notesMasterIdLst>
  <p:handoutMasterIdLst>
    <p:handoutMasterId r:id="rId14"/>
  </p:handoutMasterIdLst>
  <p:sldIdLst>
    <p:sldId id="366" r:id="rId2"/>
    <p:sldId id="1275" r:id="rId3"/>
    <p:sldId id="454" r:id="rId4"/>
    <p:sldId id="1265" r:id="rId5"/>
    <p:sldId id="1260" r:id="rId6"/>
    <p:sldId id="1267" r:id="rId7"/>
    <p:sldId id="1270" r:id="rId8"/>
    <p:sldId id="1276" r:id="rId9"/>
    <p:sldId id="1283" r:id="rId10"/>
    <p:sldId id="1293" r:id="rId11"/>
    <p:sldId id="1292" r:id="rId12"/>
  </p:sldIdLst>
  <p:sldSz cx="12192000" cy="6858000"/>
  <p:notesSz cx="6735763" cy="9866313"/>
  <p:embeddedFontLst>
    <p:embeddedFont>
      <p:font typeface="Cantarell" panose="020B0604020202020204" charset="0"/>
      <p:regular r:id="rId15"/>
      <p:bold r:id="rId16"/>
      <p:italic r:id="rId17"/>
      <p:boldItalic r:id="rId18"/>
    </p:embeddedFont>
    <p:embeddedFont>
      <p:font typeface="Montserrat" panose="00000500000000000000" pitchFamily="2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92" userDrawn="1">
          <p15:clr>
            <a:srgbClr val="A4A3A4"/>
          </p15:clr>
        </p15:guide>
        <p15:guide id="2" pos="75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tfactory" initials="CF" lastIdx="3" clrIdx="0"/>
  <p:cmAuthor id="2" name="Alexandra Arndt" initials="AA" lastIdx="33" clrIdx="1"/>
  <p:cmAuthor id="3" name="B. Henselmann" initials="BH" lastIdx="5" clrIdx="2"/>
  <p:cmAuthor id="4" name="Edel Praktikant" initials="EP" lastIdx="28" clrIdx="3">
    <p:extLst>
      <p:ext uri="{19B8F6BF-5375-455C-9EA6-DF929625EA0E}">
        <p15:presenceInfo xmlns:p15="http://schemas.microsoft.com/office/powerpoint/2012/main" userId="S-1-5-21-1848214644-3902818116-1638638661-113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FFCC00"/>
    <a:srgbClr val="F2F2F2"/>
    <a:srgbClr val="43688D"/>
    <a:srgbClr val="3A5B7C"/>
    <a:srgbClr val="92D050"/>
    <a:srgbClr val="E9EBEE"/>
    <a:srgbClr val="35495D"/>
    <a:srgbClr val="8F9DB0"/>
    <a:srgbClr val="A7B1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94503" autoAdjust="0"/>
  </p:normalViewPr>
  <p:slideViewPr>
    <p:cSldViewPr snapToGrid="0">
      <p:cViewPr varScale="1">
        <p:scale>
          <a:sx n="80" d="100"/>
          <a:sy n="80" d="100"/>
        </p:scale>
        <p:origin x="754" y="58"/>
      </p:cViewPr>
      <p:guideLst>
        <p:guide orient="horz" pos="2092"/>
        <p:guide pos="7537"/>
      </p:guideLst>
    </p:cSldViewPr>
  </p:slideViewPr>
  <p:outlineViewPr>
    <p:cViewPr>
      <p:scale>
        <a:sx n="33" d="100"/>
        <a:sy n="33" d="100"/>
      </p:scale>
      <p:origin x="0" y="3214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66" d="100"/>
          <a:sy n="66" d="100"/>
        </p:scale>
        <p:origin x="3318" y="31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ns Ohlig" userId="2b0f5e54b98f66be" providerId="LiveId" clId="{D5F95108-1EC7-432A-83D4-F0F3F512AAED}"/>
    <pc:docChg chg="undo custSel delSld modSld">
      <pc:chgData name="Jens Ohlig" userId="2b0f5e54b98f66be" providerId="LiveId" clId="{D5F95108-1EC7-432A-83D4-F0F3F512AAED}" dt="2023-11-03T09:04:38.357" v="941" actId="47"/>
      <pc:docMkLst>
        <pc:docMk/>
      </pc:docMkLst>
      <pc:sldChg chg="modSp mod">
        <pc:chgData name="Jens Ohlig" userId="2b0f5e54b98f66be" providerId="LiveId" clId="{D5F95108-1EC7-432A-83D4-F0F3F512AAED}" dt="2023-11-03T08:39:09.197" v="15" actId="20577"/>
        <pc:sldMkLst>
          <pc:docMk/>
          <pc:sldMk cId="4074860120" sldId="366"/>
        </pc:sldMkLst>
        <pc:spChg chg="mod">
          <ac:chgData name="Jens Ohlig" userId="2b0f5e54b98f66be" providerId="LiveId" clId="{D5F95108-1EC7-432A-83D4-F0F3F512AAED}" dt="2023-11-03T08:39:09.197" v="15" actId="20577"/>
          <ac:spMkLst>
            <pc:docMk/>
            <pc:sldMk cId="4074860120" sldId="366"/>
            <ac:spMk id="12" creationId="{8565F504-103B-4EC9-9880-3C59C77F3D12}"/>
          </ac:spMkLst>
        </pc:spChg>
      </pc:sldChg>
      <pc:sldChg chg="del">
        <pc:chgData name="Jens Ohlig" userId="2b0f5e54b98f66be" providerId="LiveId" clId="{D5F95108-1EC7-432A-83D4-F0F3F512AAED}" dt="2023-11-03T09:04:38.357" v="941" actId="47"/>
        <pc:sldMkLst>
          <pc:docMk/>
          <pc:sldMk cId="865023972" sldId="1194"/>
        </pc:sldMkLst>
      </pc:sldChg>
      <pc:sldChg chg="del">
        <pc:chgData name="Jens Ohlig" userId="2b0f5e54b98f66be" providerId="LiveId" clId="{D5F95108-1EC7-432A-83D4-F0F3F512AAED}" dt="2023-11-03T08:50:36.930" v="392" actId="47"/>
        <pc:sldMkLst>
          <pc:docMk/>
          <pc:sldMk cId="3368900109" sldId="1245"/>
        </pc:sldMkLst>
      </pc:sldChg>
      <pc:sldChg chg="delSp modSp mod">
        <pc:chgData name="Jens Ohlig" userId="2b0f5e54b98f66be" providerId="LiveId" clId="{D5F95108-1EC7-432A-83D4-F0F3F512AAED}" dt="2023-11-03T08:42:36.477" v="120" actId="478"/>
        <pc:sldMkLst>
          <pc:docMk/>
          <pc:sldMk cId="3059883499" sldId="1260"/>
        </pc:sldMkLst>
        <pc:spChg chg="mod">
          <ac:chgData name="Jens Ohlig" userId="2b0f5e54b98f66be" providerId="LiveId" clId="{D5F95108-1EC7-432A-83D4-F0F3F512AAED}" dt="2023-11-03T08:42:28.822" v="119" actId="20577"/>
          <ac:spMkLst>
            <pc:docMk/>
            <pc:sldMk cId="3059883499" sldId="1260"/>
            <ac:spMk id="6" creationId="{28188C1F-D51F-211B-40D2-87B2EC3BB16C}"/>
          </ac:spMkLst>
        </pc:spChg>
        <pc:spChg chg="del">
          <ac:chgData name="Jens Ohlig" userId="2b0f5e54b98f66be" providerId="LiveId" clId="{D5F95108-1EC7-432A-83D4-F0F3F512AAED}" dt="2023-11-03T08:42:36.477" v="120" actId="478"/>
          <ac:spMkLst>
            <pc:docMk/>
            <pc:sldMk cId="3059883499" sldId="1260"/>
            <ac:spMk id="151" creationId="{7C7B1D97-E514-FC70-2006-F1F746522043}"/>
          </ac:spMkLst>
        </pc:spChg>
      </pc:sldChg>
      <pc:sldChg chg="del">
        <pc:chgData name="Jens Ohlig" userId="2b0f5e54b98f66be" providerId="LiveId" clId="{D5F95108-1EC7-432A-83D4-F0F3F512AAED}" dt="2023-11-03T08:39:25.268" v="16" actId="47"/>
        <pc:sldMkLst>
          <pc:docMk/>
          <pc:sldMk cId="1133695168" sldId="1263"/>
        </pc:sldMkLst>
      </pc:sldChg>
      <pc:sldChg chg="delSp modSp mod">
        <pc:chgData name="Jens Ohlig" userId="2b0f5e54b98f66be" providerId="LiveId" clId="{D5F95108-1EC7-432A-83D4-F0F3F512AAED}" dt="2023-11-03T08:46:12.484" v="244" actId="20577"/>
        <pc:sldMkLst>
          <pc:docMk/>
          <pc:sldMk cId="3255948376" sldId="1265"/>
        </pc:sldMkLst>
        <pc:spChg chg="mod">
          <ac:chgData name="Jens Ohlig" userId="2b0f5e54b98f66be" providerId="LiveId" clId="{D5F95108-1EC7-432A-83D4-F0F3F512AAED}" dt="2023-11-03T08:39:52.046" v="18" actId="6549"/>
          <ac:spMkLst>
            <pc:docMk/>
            <pc:sldMk cId="3255948376" sldId="1265"/>
            <ac:spMk id="6" creationId="{28188C1F-D51F-211B-40D2-87B2EC3BB16C}"/>
          </ac:spMkLst>
        </pc:spChg>
        <pc:spChg chg="mod">
          <ac:chgData name="Jens Ohlig" userId="2b0f5e54b98f66be" providerId="LiveId" clId="{D5F95108-1EC7-432A-83D4-F0F3F512AAED}" dt="2023-11-03T08:40:27.734" v="57" actId="1036"/>
          <ac:spMkLst>
            <pc:docMk/>
            <pc:sldMk cId="3255948376" sldId="1265"/>
            <ac:spMk id="62" creationId="{ACCEFE8C-23BF-4C9B-9213-4F4D056DC405}"/>
          </ac:spMkLst>
        </pc:spChg>
        <pc:spChg chg="mod">
          <ac:chgData name="Jens Ohlig" userId="2b0f5e54b98f66be" providerId="LiveId" clId="{D5F95108-1EC7-432A-83D4-F0F3F512AAED}" dt="2023-11-03T08:40:27.734" v="57" actId="1036"/>
          <ac:spMkLst>
            <pc:docMk/>
            <pc:sldMk cId="3255948376" sldId="1265"/>
            <ac:spMk id="70" creationId="{AEADCABA-F661-4C1D-AFE9-7840C99C5547}"/>
          </ac:spMkLst>
        </pc:spChg>
        <pc:spChg chg="mod">
          <ac:chgData name="Jens Ohlig" userId="2b0f5e54b98f66be" providerId="LiveId" clId="{D5F95108-1EC7-432A-83D4-F0F3F512AAED}" dt="2023-11-03T08:40:27.734" v="57" actId="1036"/>
          <ac:spMkLst>
            <pc:docMk/>
            <pc:sldMk cId="3255948376" sldId="1265"/>
            <ac:spMk id="71" creationId="{304F432B-4865-43B8-A5DC-0203054C8D6A}"/>
          </ac:spMkLst>
        </pc:spChg>
        <pc:spChg chg="mod">
          <ac:chgData name="Jens Ohlig" userId="2b0f5e54b98f66be" providerId="LiveId" clId="{D5F95108-1EC7-432A-83D4-F0F3F512AAED}" dt="2023-11-03T08:40:27.734" v="57" actId="1036"/>
          <ac:spMkLst>
            <pc:docMk/>
            <pc:sldMk cId="3255948376" sldId="1265"/>
            <ac:spMk id="72" creationId="{A22D7610-AA32-4758-8D22-C516BE804B7E}"/>
          </ac:spMkLst>
        </pc:spChg>
        <pc:spChg chg="mod">
          <ac:chgData name="Jens Ohlig" userId="2b0f5e54b98f66be" providerId="LiveId" clId="{D5F95108-1EC7-432A-83D4-F0F3F512AAED}" dt="2023-11-03T08:40:27.734" v="57" actId="1036"/>
          <ac:spMkLst>
            <pc:docMk/>
            <pc:sldMk cId="3255948376" sldId="1265"/>
            <ac:spMk id="74" creationId="{D02492D4-41C2-4950-9F56-9ADEC36142DF}"/>
          </ac:spMkLst>
        </pc:spChg>
        <pc:spChg chg="mod">
          <ac:chgData name="Jens Ohlig" userId="2b0f5e54b98f66be" providerId="LiveId" clId="{D5F95108-1EC7-432A-83D4-F0F3F512AAED}" dt="2023-11-03T08:40:27.734" v="57" actId="1036"/>
          <ac:spMkLst>
            <pc:docMk/>
            <pc:sldMk cId="3255948376" sldId="1265"/>
            <ac:spMk id="75" creationId="{698D0C7E-CB6B-4C94-A3E6-962256221588}"/>
          </ac:spMkLst>
        </pc:spChg>
        <pc:spChg chg="mod">
          <ac:chgData name="Jens Ohlig" userId="2b0f5e54b98f66be" providerId="LiveId" clId="{D5F95108-1EC7-432A-83D4-F0F3F512AAED}" dt="2023-11-03T08:40:27.734" v="57" actId="1036"/>
          <ac:spMkLst>
            <pc:docMk/>
            <pc:sldMk cId="3255948376" sldId="1265"/>
            <ac:spMk id="76" creationId="{AE5C63B3-CD31-4B33-8D0C-FEABBA46EEF9}"/>
          </ac:spMkLst>
        </pc:spChg>
        <pc:spChg chg="mod">
          <ac:chgData name="Jens Ohlig" userId="2b0f5e54b98f66be" providerId="LiveId" clId="{D5F95108-1EC7-432A-83D4-F0F3F512AAED}" dt="2023-11-03T08:40:27.734" v="57" actId="1036"/>
          <ac:spMkLst>
            <pc:docMk/>
            <pc:sldMk cId="3255948376" sldId="1265"/>
            <ac:spMk id="77" creationId="{8E241FA8-A4F6-49A8-8E05-642BC633217A}"/>
          </ac:spMkLst>
        </pc:spChg>
        <pc:spChg chg="mod">
          <ac:chgData name="Jens Ohlig" userId="2b0f5e54b98f66be" providerId="LiveId" clId="{D5F95108-1EC7-432A-83D4-F0F3F512AAED}" dt="2023-11-03T08:46:12.484" v="244" actId="20577"/>
          <ac:spMkLst>
            <pc:docMk/>
            <pc:sldMk cId="3255948376" sldId="1265"/>
            <ac:spMk id="88" creationId="{5A3703F7-A5BB-4DFB-85ED-65A82FAD2C72}"/>
          </ac:spMkLst>
        </pc:spChg>
        <pc:spChg chg="del mod">
          <ac:chgData name="Jens Ohlig" userId="2b0f5e54b98f66be" providerId="LiveId" clId="{D5F95108-1EC7-432A-83D4-F0F3F512AAED}" dt="2023-11-03T08:45:35.045" v="194" actId="478"/>
          <ac:spMkLst>
            <pc:docMk/>
            <pc:sldMk cId="3255948376" sldId="1265"/>
            <ac:spMk id="121" creationId="{641747F7-D2B7-42C5-9C65-7168D54AF983}"/>
          </ac:spMkLst>
        </pc:spChg>
        <pc:spChg chg="del mod">
          <ac:chgData name="Jens Ohlig" userId="2b0f5e54b98f66be" providerId="LiveId" clId="{D5F95108-1EC7-432A-83D4-F0F3F512AAED}" dt="2023-11-03T08:45:35.045" v="194" actId="478"/>
          <ac:spMkLst>
            <pc:docMk/>
            <pc:sldMk cId="3255948376" sldId="1265"/>
            <ac:spMk id="137" creationId="{5A3703F7-A5BB-4DFB-85ED-65A82FAD2C72}"/>
          </ac:spMkLst>
        </pc:spChg>
        <pc:spChg chg="del">
          <ac:chgData name="Jens Ohlig" userId="2b0f5e54b98f66be" providerId="LiveId" clId="{D5F95108-1EC7-432A-83D4-F0F3F512AAED}" dt="2023-11-03T08:39:59.903" v="19" actId="478"/>
          <ac:spMkLst>
            <pc:docMk/>
            <pc:sldMk cId="3255948376" sldId="1265"/>
            <ac:spMk id="151" creationId="{7C7B1D97-E514-FC70-2006-F1F746522043}"/>
          </ac:spMkLst>
        </pc:spChg>
        <pc:graphicFrameChg chg="mod">
          <ac:chgData name="Jens Ohlig" userId="2b0f5e54b98f66be" providerId="LiveId" clId="{D5F95108-1EC7-432A-83D4-F0F3F512AAED}" dt="2023-11-03T08:40:27.734" v="57" actId="1036"/>
          <ac:graphicFrameMkLst>
            <pc:docMk/>
            <pc:sldMk cId="3255948376" sldId="1265"/>
            <ac:graphicFrameMk id="131" creationId="{9F1B3AFC-73D2-456E-A68D-771CF5368274}"/>
          </ac:graphicFrameMkLst>
        </pc:graphicFrameChg>
        <pc:graphicFrameChg chg="del mod">
          <ac:chgData name="Jens Ohlig" userId="2b0f5e54b98f66be" providerId="LiveId" clId="{D5F95108-1EC7-432A-83D4-F0F3F512AAED}" dt="2023-11-03T08:45:35.045" v="194" actId="478"/>
          <ac:graphicFrameMkLst>
            <pc:docMk/>
            <pc:sldMk cId="3255948376" sldId="1265"/>
            <ac:graphicFrameMk id="141" creationId="{70EA55BA-AD7C-4ABD-8120-CBB744A0A830}"/>
          </ac:graphicFrameMkLst>
        </pc:graphicFrameChg>
        <pc:picChg chg="del mod">
          <ac:chgData name="Jens Ohlig" userId="2b0f5e54b98f66be" providerId="LiveId" clId="{D5F95108-1EC7-432A-83D4-F0F3F512AAED}" dt="2023-11-03T08:45:07.352" v="173" actId="478"/>
          <ac:picMkLst>
            <pc:docMk/>
            <pc:sldMk cId="3255948376" sldId="1265"/>
            <ac:picMk id="158" creationId="{C9D41153-58BB-BB90-EA12-42A1FC85694F}"/>
          </ac:picMkLst>
        </pc:picChg>
      </pc:sldChg>
      <pc:sldChg chg="del">
        <pc:chgData name="Jens Ohlig" userId="2b0f5e54b98f66be" providerId="LiveId" clId="{D5F95108-1EC7-432A-83D4-F0F3F512AAED}" dt="2023-11-03T08:41:09.753" v="59" actId="47"/>
        <pc:sldMkLst>
          <pc:docMk/>
          <pc:sldMk cId="4250965642" sldId="1266"/>
        </pc:sldMkLst>
      </pc:sldChg>
      <pc:sldChg chg="delSp modSp mod">
        <pc:chgData name="Jens Ohlig" userId="2b0f5e54b98f66be" providerId="LiveId" clId="{D5F95108-1EC7-432A-83D4-F0F3F512AAED}" dt="2023-11-03T08:46:56.052" v="271" actId="20577"/>
        <pc:sldMkLst>
          <pc:docMk/>
          <pc:sldMk cId="1852279711" sldId="1267"/>
        </pc:sldMkLst>
        <pc:spChg chg="mod">
          <ac:chgData name="Jens Ohlig" userId="2b0f5e54b98f66be" providerId="LiveId" clId="{D5F95108-1EC7-432A-83D4-F0F3F512AAED}" dt="2023-11-03T08:43:49.663" v="170" actId="6549"/>
          <ac:spMkLst>
            <pc:docMk/>
            <pc:sldMk cId="1852279711" sldId="1267"/>
            <ac:spMk id="3" creationId="{15BCA384-8405-4911-B263-9B8F98A400C6}"/>
          </ac:spMkLst>
        </pc:spChg>
        <pc:spChg chg="mod">
          <ac:chgData name="Jens Ohlig" userId="2b0f5e54b98f66be" providerId="LiveId" clId="{D5F95108-1EC7-432A-83D4-F0F3F512AAED}" dt="2023-11-03T08:43:15.441" v="123" actId="6549"/>
          <ac:spMkLst>
            <pc:docMk/>
            <pc:sldMk cId="1852279711" sldId="1267"/>
            <ac:spMk id="6" creationId="{28188C1F-D51F-211B-40D2-87B2EC3BB16C}"/>
          </ac:spMkLst>
        </pc:spChg>
        <pc:spChg chg="mod">
          <ac:chgData name="Jens Ohlig" userId="2b0f5e54b98f66be" providerId="LiveId" clId="{D5F95108-1EC7-432A-83D4-F0F3F512AAED}" dt="2023-11-03T08:43:34.837" v="155" actId="1036"/>
          <ac:spMkLst>
            <pc:docMk/>
            <pc:sldMk cId="1852279711" sldId="1267"/>
            <ac:spMk id="62" creationId="{ACCEFE8C-23BF-4C9B-9213-4F4D056DC405}"/>
          </ac:spMkLst>
        </pc:spChg>
        <pc:spChg chg="mod">
          <ac:chgData name="Jens Ohlig" userId="2b0f5e54b98f66be" providerId="LiveId" clId="{D5F95108-1EC7-432A-83D4-F0F3F512AAED}" dt="2023-11-03T08:43:34.837" v="155" actId="1036"/>
          <ac:spMkLst>
            <pc:docMk/>
            <pc:sldMk cId="1852279711" sldId="1267"/>
            <ac:spMk id="70" creationId="{AEADCABA-F661-4C1D-AFE9-7840C99C5547}"/>
          </ac:spMkLst>
        </pc:spChg>
        <pc:spChg chg="mod">
          <ac:chgData name="Jens Ohlig" userId="2b0f5e54b98f66be" providerId="LiveId" clId="{D5F95108-1EC7-432A-83D4-F0F3F512AAED}" dt="2023-11-03T08:43:34.837" v="155" actId="1036"/>
          <ac:spMkLst>
            <pc:docMk/>
            <pc:sldMk cId="1852279711" sldId="1267"/>
            <ac:spMk id="71" creationId="{304F432B-4865-43B8-A5DC-0203054C8D6A}"/>
          </ac:spMkLst>
        </pc:spChg>
        <pc:spChg chg="mod">
          <ac:chgData name="Jens Ohlig" userId="2b0f5e54b98f66be" providerId="LiveId" clId="{D5F95108-1EC7-432A-83D4-F0F3F512AAED}" dt="2023-11-03T08:43:34.837" v="155" actId="1036"/>
          <ac:spMkLst>
            <pc:docMk/>
            <pc:sldMk cId="1852279711" sldId="1267"/>
            <ac:spMk id="74" creationId="{D02492D4-41C2-4950-9F56-9ADEC36142DF}"/>
          </ac:spMkLst>
        </pc:spChg>
        <pc:spChg chg="mod">
          <ac:chgData name="Jens Ohlig" userId="2b0f5e54b98f66be" providerId="LiveId" clId="{D5F95108-1EC7-432A-83D4-F0F3F512AAED}" dt="2023-11-03T08:43:34.837" v="155" actId="1036"/>
          <ac:spMkLst>
            <pc:docMk/>
            <pc:sldMk cId="1852279711" sldId="1267"/>
            <ac:spMk id="75" creationId="{698D0C7E-CB6B-4C94-A3E6-962256221588}"/>
          </ac:spMkLst>
        </pc:spChg>
        <pc:spChg chg="mod">
          <ac:chgData name="Jens Ohlig" userId="2b0f5e54b98f66be" providerId="LiveId" clId="{D5F95108-1EC7-432A-83D4-F0F3F512AAED}" dt="2023-11-03T08:43:34.837" v="155" actId="1036"/>
          <ac:spMkLst>
            <pc:docMk/>
            <pc:sldMk cId="1852279711" sldId="1267"/>
            <ac:spMk id="76" creationId="{AE5C63B3-CD31-4B33-8D0C-FEABBA46EEF9}"/>
          </ac:spMkLst>
        </pc:spChg>
        <pc:spChg chg="mod">
          <ac:chgData name="Jens Ohlig" userId="2b0f5e54b98f66be" providerId="LiveId" clId="{D5F95108-1EC7-432A-83D4-F0F3F512AAED}" dt="2023-11-03T08:46:56.052" v="271" actId="20577"/>
          <ac:spMkLst>
            <pc:docMk/>
            <pc:sldMk cId="1852279711" sldId="1267"/>
            <ac:spMk id="88" creationId="{5A3703F7-A5BB-4DFB-85ED-65A82FAD2C72}"/>
          </ac:spMkLst>
        </pc:spChg>
        <pc:spChg chg="del mod">
          <ac:chgData name="Jens Ohlig" userId="2b0f5e54b98f66be" providerId="LiveId" clId="{D5F95108-1EC7-432A-83D4-F0F3F512AAED}" dt="2023-11-03T08:45:57.090" v="220" actId="478"/>
          <ac:spMkLst>
            <pc:docMk/>
            <pc:sldMk cId="1852279711" sldId="1267"/>
            <ac:spMk id="121" creationId="{641747F7-D2B7-42C5-9C65-7168D54AF983}"/>
          </ac:spMkLst>
        </pc:spChg>
        <pc:spChg chg="del mod">
          <ac:chgData name="Jens Ohlig" userId="2b0f5e54b98f66be" providerId="LiveId" clId="{D5F95108-1EC7-432A-83D4-F0F3F512AAED}" dt="2023-11-03T08:45:53.916" v="219" actId="478"/>
          <ac:spMkLst>
            <pc:docMk/>
            <pc:sldMk cId="1852279711" sldId="1267"/>
            <ac:spMk id="137" creationId="{5A3703F7-A5BB-4DFB-85ED-65A82FAD2C72}"/>
          </ac:spMkLst>
        </pc:spChg>
        <pc:spChg chg="del">
          <ac:chgData name="Jens Ohlig" userId="2b0f5e54b98f66be" providerId="LiveId" clId="{D5F95108-1EC7-432A-83D4-F0F3F512AAED}" dt="2023-11-03T08:43:20.299" v="124" actId="478"/>
          <ac:spMkLst>
            <pc:docMk/>
            <pc:sldMk cId="1852279711" sldId="1267"/>
            <ac:spMk id="151" creationId="{7C7B1D97-E514-FC70-2006-F1F746522043}"/>
          </ac:spMkLst>
        </pc:spChg>
        <pc:graphicFrameChg chg="mod">
          <ac:chgData name="Jens Ohlig" userId="2b0f5e54b98f66be" providerId="LiveId" clId="{D5F95108-1EC7-432A-83D4-F0F3F512AAED}" dt="2023-11-03T08:43:34.837" v="155" actId="1036"/>
          <ac:graphicFrameMkLst>
            <pc:docMk/>
            <pc:sldMk cId="1852279711" sldId="1267"/>
            <ac:graphicFrameMk id="31" creationId="{1BD27AFB-7A99-44D0-8FC8-6E7B3450F227}"/>
          </ac:graphicFrameMkLst>
        </pc:graphicFrameChg>
        <pc:graphicFrameChg chg="del mod">
          <ac:chgData name="Jens Ohlig" userId="2b0f5e54b98f66be" providerId="LiveId" clId="{D5F95108-1EC7-432A-83D4-F0F3F512AAED}" dt="2023-11-03T08:45:53.916" v="219" actId="478"/>
          <ac:graphicFrameMkLst>
            <pc:docMk/>
            <pc:sldMk cId="1852279711" sldId="1267"/>
            <ac:graphicFrameMk id="37" creationId="{F84FE25D-499D-4C8E-9B52-D20FFCA0FD72}"/>
          </ac:graphicFrameMkLst>
        </pc:graphicFrameChg>
        <pc:picChg chg="del">
          <ac:chgData name="Jens Ohlig" userId="2b0f5e54b98f66be" providerId="LiveId" clId="{D5F95108-1EC7-432A-83D4-F0F3F512AAED}" dt="2023-11-03T08:43:39.628" v="156" actId="478"/>
          <ac:picMkLst>
            <pc:docMk/>
            <pc:sldMk cId="1852279711" sldId="1267"/>
            <ac:picMk id="158" creationId="{C9D41153-58BB-BB90-EA12-42A1FC85694F}"/>
          </ac:picMkLst>
        </pc:picChg>
      </pc:sldChg>
      <pc:sldChg chg="del">
        <pc:chgData name="Jens Ohlig" userId="2b0f5e54b98f66be" providerId="LiveId" clId="{D5F95108-1EC7-432A-83D4-F0F3F512AAED}" dt="2023-11-03T08:44:21.822" v="171" actId="47"/>
        <pc:sldMkLst>
          <pc:docMk/>
          <pc:sldMk cId="4100415934" sldId="1269"/>
        </pc:sldMkLst>
      </pc:sldChg>
      <pc:sldChg chg="addSp delSp modSp mod">
        <pc:chgData name="Jens Ohlig" userId="2b0f5e54b98f66be" providerId="LiveId" clId="{D5F95108-1EC7-432A-83D4-F0F3F512AAED}" dt="2023-11-03T08:50:26.998" v="390" actId="20577"/>
        <pc:sldMkLst>
          <pc:docMk/>
          <pc:sldMk cId="1552526178" sldId="1270"/>
        </pc:sldMkLst>
        <pc:spChg chg="mod">
          <ac:chgData name="Jens Ohlig" userId="2b0f5e54b98f66be" providerId="LiveId" clId="{D5F95108-1EC7-432A-83D4-F0F3F512AAED}" dt="2023-11-03T08:50:26.998" v="390" actId="20577"/>
          <ac:spMkLst>
            <pc:docMk/>
            <pc:sldMk cId="1552526178" sldId="1270"/>
            <ac:spMk id="3" creationId="{15BCA384-8405-4911-B263-9B8F98A400C6}"/>
          </ac:spMkLst>
        </pc:spChg>
        <pc:spChg chg="mod">
          <ac:chgData name="Jens Ohlig" userId="2b0f5e54b98f66be" providerId="LiveId" clId="{D5F95108-1EC7-432A-83D4-F0F3F512AAED}" dt="2023-11-03T08:50:00.732" v="387" actId="20577"/>
          <ac:spMkLst>
            <pc:docMk/>
            <pc:sldMk cId="1552526178" sldId="1270"/>
            <ac:spMk id="6" creationId="{28188C1F-D51F-211B-40D2-87B2EC3BB16C}"/>
          </ac:spMkLst>
        </pc:spChg>
        <pc:spChg chg="mod">
          <ac:chgData name="Jens Ohlig" userId="2b0f5e54b98f66be" providerId="LiveId" clId="{D5F95108-1EC7-432A-83D4-F0F3F512AAED}" dt="2023-11-03T08:48:32.491" v="317" actId="1036"/>
          <ac:spMkLst>
            <pc:docMk/>
            <pc:sldMk cId="1552526178" sldId="1270"/>
            <ac:spMk id="24" creationId="{34FD7449-4410-4DFA-982F-9F741210BFE0}"/>
          </ac:spMkLst>
        </pc:spChg>
        <pc:spChg chg="mod">
          <ac:chgData name="Jens Ohlig" userId="2b0f5e54b98f66be" providerId="LiveId" clId="{D5F95108-1EC7-432A-83D4-F0F3F512AAED}" dt="2023-11-03T08:48:32.491" v="317" actId="1036"/>
          <ac:spMkLst>
            <pc:docMk/>
            <pc:sldMk cId="1552526178" sldId="1270"/>
            <ac:spMk id="25" creationId="{7E391A5C-B033-4E41-857F-EFCE14DB93B9}"/>
          </ac:spMkLst>
        </pc:spChg>
        <pc:spChg chg="mod">
          <ac:chgData name="Jens Ohlig" userId="2b0f5e54b98f66be" providerId="LiveId" clId="{D5F95108-1EC7-432A-83D4-F0F3F512AAED}" dt="2023-11-03T08:48:32.491" v="317" actId="1036"/>
          <ac:spMkLst>
            <pc:docMk/>
            <pc:sldMk cId="1552526178" sldId="1270"/>
            <ac:spMk id="27" creationId="{C1130E4B-F0B0-4827-BE6B-1C9F5B2E3D4E}"/>
          </ac:spMkLst>
        </pc:spChg>
        <pc:spChg chg="mod">
          <ac:chgData name="Jens Ohlig" userId="2b0f5e54b98f66be" providerId="LiveId" clId="{D5F95108-1EC7-432A-83D4-F0F3F512AAED}" dt="2023-11-03T08:48:32.491" v="317" actId="1036"/>
          <ac:spMkLst>
            <pc:docMk/>
            <pc:sldMk cId="1552526178" sldId="1270"/>
            <ac:spMk id="29" creationId="{9FA9F46F-C1A5-4583-8930-C461704A7EE3}"/>
          </ac:spMkLst>
        </pc:spChg>
        <pc:spChg chg="mod">
          <ac:chgData name="Jens Ohlig" userId="2b0f5e54b98f66be" providerId="LiveId" clId="{D5F95108-1EC7-432A-83D4-F0F3F512AAED}" dt="2023-11-03T08:48:32.491" v="317" actId="1036"/>
          <ac:spMkLst>
            <pc:docMk/>
            <pc:sldMk cId="1552526178" sldId="1270"/>
            <ac:spMk id="30" creationId="{CE399D9D-4835-426D-9B3E-AB7BAE1B1A5F}"/>
          </ac:spMkLst>
        </pc:spChg>
        <pc:spChg chg="add mod">
          <ac:chgData name="Jens Ohlig" userId="2b0f5e54b98f66be" providerId="LiveId" clId="{D5F95108-1EC7-432A-83D4-F0F3F512AAED}" dt="2023-11-03T08:49:41.027" v="386" actId="1035"/>
          <ac:spMkLst>
            <pc:docMk/>
            <pc:sldMk cId="1552526178" sldId="1270"/>
            <ac:spMk id="31" creationId="{52BF382E-CA32-402E-A00B-1F48106B12AF}"/>
          </ac:spMkLst>
        </pc:spChg>
        <pc:spChg chg="del">
          <ac:chgData name="Jens Ohlig" userId="2b0f5e54b98f66be" providerId="LiveId" clId="{D5F95108-1EC7-432A-83D4-F0F3F512AAED}" dt="2023-11-03T08:48:12.752" v="276" actId="478"/>
          <ac:spMkLst>
            <pc:docMk/>
            <pc:sldMk cId="1552526178" sldId="1270"/>
            <ac:spMk id="35" creationId="{5A3703F7-A5BB-4DFB-85ED-65A82FAD2C72}"/>
          </ac:spMkLst>
        </pc:spChg>
        <pc:spChg chg="del">
          <ac:chgData name="Jens Ohlig" userId="2b0f5e54b98f66be" providerId="LiveId" clId="{D5F95108-1EC7-432A-83D4-F0F3F512AAED}" dt="2023-11-03T08:48:12.752" v="276" actId="478"/>
          <ac:spMkLst>
            <pc:docMk/>
            <pc:sldMk cId="1552526178" sldId="1270"/>
            <ac:spMk id="36" creationId="{5A3703F7-A5BB-4DFB-85ED-65A82FAD2C72}"/>
          </ac:spMkLst>
        </pc:spChg>
        <pc:spChg chg="mod">
          <ac:chgData name="Jens Ohlig" userId="2b0f5e54b98f66be" providerId="LiveId" clId="{D5F95108-1EC7-432A-83D4-F0F3F512AAED}" dt="2023-11-03T08:48:32.491" v="317" actId="1036"/>
          <ac:spMkLst>
            <pc:docMk/>
            <pc:sldMk cId="1552526178" sldId="1270"/>
            <ac:spMk id="62" creationId="{ACCEFE8C-23BF-4C9B-9213-4F4D056DC405}"/>
          </ac:spMkLst>
        </pc:spChg>
        <pc:spChg chg="mod">
          <ac:chgData name="Jens Ohlig" userId="2b0f5e54b98f66be" providerId="LiveId" clId="{D5F95108-1EC7-432A-83D4-F0F3F512AAED}" dt="2023-11-03T08:48:32.491" v="317" actId="1036"/>
          <ac:spMkLst>
            <pc:docMk/>
            <pc:sldMk cId="1552526178" sldId="1270"/>
            <ac:spMk id="70" creationId="{AEADCABA-F661-4C1D-AFE9-7840C99C5547}"/>
          </ac:spMkLst>
        </pc:spChg>
        <pc:spChg chg="mod">
          <ac:chgData name="Jens Ohlig" userId="2b0f5e54b98f66be" providerId="LiveId" clId="{D5F95108-1EC7-432A-83D4-F0F3F512AAED}" dt="2023-11-03T08:48:32.491" v="317" actId="1036"/>
          <ac:spMkLst>
            <pc:docMk/>
            <pc:sldMk cId="1552526178" sldId="1270"/>
            <ac:spMk id="71" creationId="{304F432B-4865-43B8-A5DC-0203054C8D6A}"/>
          </ac:spMkLst>
        </pc:spChg>
        <pc:spChg chg="mod">
          <ac:chgData name="Jens Ohlig" userId="2b0f5e54b98f66be" providerId="LiveId" clId="{D5F95108-1EC7-432A-83D4-F0F3F512AAED}" dt="2023-11-03T08:48:32.491" v="317" actId="1036"/>
          <ac:spMkLst>
            <pc:docMk/>
            <pc:sldMk cId="1552526178" sldId="1270"/>
            <ac:spMk id="74" creationId="{D02492D4-41C2-4950-9F56-9ADEC36142DF}"/>
          </ac:spMkLst>
        </pc:spChg>
        <pc:spChg chg="mod">
          <ac:chgData name="Jens Ohlig" userId="2b0f5e54b98f66be" providerId="LiveId" clId="{D5F95108-1EC7-432A-83D4-F0F3F512AAED}" dt="2023-11-03T08:48:32.491" v="317" actId="1036"/>
          <ac:spMkLst>
            <pc:docMk/>
            <pc:sldMk cId="1552526178" sldId="1270"/>
            <ac:spMk id="75" creationId="{698D0C7E-CB6B-4C94-A3E6-962256221588}"/>
          </ac:spMkLst>
        </pc:spChg>
        <pc:spChg chg="mod">
          <ac:chgData name="Jens Ohlig" userId="2b0f5e54b98f66be" providerId="LiveId" clId="{D5F95108-1EC7-432A-83D4-F0F3F512AAED}" dt="2023-11-03T08:48:32.491" v="317" actId="1036"/>
          <ac:spMkLst>
            <pc:docMk/>
            <pc:sldMk cId="1552526178" sldId="1270"/>
            <ac:spMk id="76" creationId="{AE5C63B3-CD31-4B33-8D0C-FEABBA46EEF9}"/>
          </ac:spMkLst>
        </pc:spChg>
        <pc:spChg chg="mod">
          <ac:chgData name="Jens Ohlig" userId="2b0f5e54b98f66be" providerId="LiveId" clId="{D5F95108-1EC7-432A-83D4-F0F3F512AAED}" dt="2023-11-03T08:49:33.159" v="375" actId="6549"/>
          <ac:spMkLst>
            <pc:docMk/>
            <pc:sldMk cId="1552526178" sldId="1270"/>
            <ac:spMk id="88" creationId="{5A3703F7-A5BB-4DFB-85ED-65A82FAD2C72}"/>
          </ac:spMkLst>
        </pc:spChg>
        <pc:spChg chg="del">
          <ac:chgData name="Jens Ohlig" userId="2b0f5e54b98f66be" providerId="LiveId" clId="{D5F95108-1EC7-432A-83D4-F0F3F512AAED}" dt="2023-11-03T08:48:08.271" v="275" actId="478"/>
          <ac:spMkLst>
            <pc:docMk/>
            <pc:sldMk cId="1552526178" sldId="1270"/>
            <ac:spMk id="121" creationId="{641747F7-D2B7-42C5-9C65-7168D54AF983}"/>
          </ac:spMkLst>
        </pc:spChg>
        <pc:spChg chg="del">
          <ac:chgData name="Jens Ohlig" userId="2b0f5e54b98f66be" providerId="LiveId" clId="{D5F95108-1EC7-432A-83D4-F0F3F512AAED}" dt="2023-11-03T08:48:02.656" v="274" actId="478"/>
          <ac:spMkLst>
            <pc:docMk/>
            <pc:sldMk cId="1552526178" sldId="1270"/>
            <ac:spMk id="137" creationId="{5A3703F7-A5BB-4DFB-85ED-65A82FAD2C72}"/>
          </ac:spMkLst>
        </pc:spChg>
        <pc:spChg chg="del">
          <ac:chgData name="Jens Ohlig" userId="2b0f5e54b98f66be" providerId="LiveId" clId="{D5F95108-1EC7-432A-83D4-F0F3F512AAED}" dt="2023-11-03T08:48:19.481" v="277" actId="478"/>
          <ac:spMkLst>
            <pc:docMk/>
            <pc:sldMk cId="1552526178" sldId="1270"/>
            <ac:spMk id="151" creationId="{7C7B1D97-E514-FC70-2006-F1F746522043}"/>
          </ac:spMkLst>
        </pc:spChg>
        <pc:graphicFrameChg chg="mod">
          <ac:chgData name="Jens Ohlig" userId="2b0f5e54b98f66be" providerId="LiveId" clId="{D5F95108-1EC7-432A-83D4-F0F3F512AAED}" dt="2023-11-03T08:48:32.491" v="317" actId="1036"/>
          <ac:graphicFrameMkLst>
            <pc:docMk/>
            <pc:sldMk cId="1552526178" sldId="1270"/>
            <ac:graphicFrameMk id="34" creationId="{A45C275A-A4A9-425C-8796-446C206EFB3F}"/>
          </ac:graphicFrameMkLst>
        </pc:graphicFrameChg>
        <pc:graphicFrameChg chg="del">
          <ac:chgData name="Jens Ohlig" userId="2b0f5e54b98f66be" providerId="LiveId" clId="{D5F95108-1EC7-432A-83D4-F0F3F512AAED}" dt="2023-11-03T08:48:02.656" v="274" actId="478"/>
          <ac:graphicFrameMkLst>
            <pc:docMk/>
            <pc:sldMk cId="1552526178" sldId="1270"/>
            <ac:graphicFrameMk id="38" creationId="{343EFCDE-7237-4E33-B113-A85B52798482}"/>
          </ac:graphicFrameMkLst>
        </pc:graphicFrameChg>
        <pc:picChg chg="del">
          <ac:chgData name="Jens Ohlig" userId="2b0f5e54b98f66be" providerId="LiveId" clId="{D5F95108-1EC7-432A-83D4-F0F3F512AAED}" dt="2023-11-03T08:44:34.277" v="172" actId="478"/>
          <ac:picMkLst>
            <pc:docMk/>
            <pc:sldMk cId="1552526178" sldId="1270"/>
            <ac:picMk id="158" creationId="{C9D41153-58BB-BB90-EA12-42A1FC85694F}"/>
          </ac:picMkLst>
        </pc:picChg>
      </pc:sldChg>
      <pc:sldChg chg="del">
        <pc:chgData name="Jens Ohlig" userId="2b0f5e54b98f66be" providerId="LiveId" clId="{D5F95108-1EC7-432A-83D4-F0F3F512AAED}" dt="2023-11-03T08:50:34.059" v="391" actId="47"/>
        <pc:sldMkLst>
          <pc:docMk/>
          <pc:sldMk cId="3927107" sldId="1271"/>
        </pc:sldMkLst>
      </pc:sldChg>
      <pc:sldChg chg="del">
        <pc:chgData name="Jens Ohlig" userId="2b0f5e54b98f66be" providerId="LiveId" clId="{D5F95108-1EC7-432A-83D4-F0F3F512AAED}" dt="2023-11-03T08:50:38.436" v="393" actId="47"/>
        <pc:sldMkLst>
          <pc:docMk/>
          <pc:sldMk cId="952677513" sldId="1274"/>
        </pc:sldMkLst>
      </pc:sldChg>
      <pc:sldChg chg="delSp modSp mod">
        <pc:chgData name="Jens Ohlig" userId="2b0f5e54b98f66be" providerId="LiveId" clId="{D5F95108-1EC7-432A-83D4-F0F3F512AAED}" dt="2023-11-03T08:56:07.425" v="658" actId="478"/>
        <pc:sldMkLst>
          <pc:docMk/>
          <pc:sldMk cId="4075130551" sldId="1276"/>
        </pc:sldMkLst>
        <pc:spChg chg="mod">
          <ac:chgData name="Jens Ohlig" userId="2b0f5e54b98f66be" providerId="LiveId" clId="{D5F95108-1EC7-432A-83D4-F0F3F512AAED}" dt="2023-11-03T08:55:59.906" v="657" actId="20577"/>
          <ac:spMkLst>
            <pc:docMk/>
            <pc:sldMk cId="4075130551" sldId="1276"/>
            <ac:spMk id="3" creationId="{15BCA384-8405-4911-B263-9B8F98A400C6}"/>
          </ac:spMkLst>
        </pc:spChg>
        <pc:spChg chg="mod">
          <ac:chgData name="Jens Ohlig" userId="2b0f5e54b98f66be" providerId="LiveId" clId="{D5F95108-1EC7-432A-83D4-F0F3F512AAED}" dt="2023-11-03T08:52:36.414" v="399" actId="20577"/>
          <ac:spMkLst>
            <pc:docMk/>
            <pc:sldMk cId="4075130551" sldId="1276"/>
            <ac:spMk id="6" creationId="{28188C1F-D51F-211B-40D2-87B2EC3BB16C}"/>
          </ac:spMkLst>
        </pc:spChg>
        <pc:spChg chg="del">
          <ac:chgData name="Jens Ohlig" userId="2b0f5e54b98f66be" providerId="LiveId" clId="{D5F95108-1EC7-432A-83D4-F0F3F512AAED}" dt="2023-11-03T08:56:07.425" v="658" actId="478"/>
          <ac:spMkLst>
            <pc:docMk/>
            <pc:sldMk cId="4075130551" sldId="1276"/>
            <ac:spMk id="58" creationId="{F96C95F2-EEF1-4FEB-9EBE-186C1143F3AC}"/>
          </ac:spMkLst>
        </pc:spChg>
        <pc:picChg chg="del">
          <ac:chgData name="Jens Ohlig" userId="2b0f5e54b98f66be" providerId="LiveId" clId="{D5F95108-1EC7-432A-83D4-F0F3F512AAED}" dt="2023-11-03T08:51:26.813" v="394" actId="478"/>
          <ac:picMkLst>
            <pc:docMk/>
            <pc:sldMk cId="4075130551" sldId="1276"/>
            <ac:picMk id="37" creationId="{8B4A75CB-3376-4590-92E1-0F44ACB9437C}"/>
          </ac:picMkLst>
        </pc:picChg>
      </pc:sldChg>
      <pc:sldChg chg="del">
        <pc:chgData name="Jens Ohlig" userId="2b0f5e54b98f66be" providerId="LiveId" clId="{D5F95108-1EC7-432A-83D4-F0F3F512AAED}" dt="2023-11-03T08:57:47.297" v="660" actId="47"/>
        <pc:sldMkLst>
          <pc:docMk/>
          <pc:sldMk cId="2527903713" sldId="1277"/>
        </pc:sldMkLst>
      </pc:sldChg>
      <pc:sldChg chg="del">
        <pc:chgData name="Jens Ohlig" userId="2b0f5e54b98f66be" providerId="LiveId" clId="{D5F95108-1EC7-432A-83D4-F0F3F512AAED}" dt="2023-11-03T08:57:46.029" v="659" actId="47"/>
        <pc:sldMkLst>
          <pc:docMk/>
          <pc:sldMk cId="2191928578" sldId="1278"/>
        </pc:sldMkLst>
      </pc:sldChg>
      <pc:sldChg chg="del">
        <pc:chgData name="Jens Ohlig" userId="2b0f5e54b98f66be" providerId="LiveId" clId="{D5F95108-1EC7-432A-83D4-F0F3F512AAED}" dt="2023-11-03T08:57:48.755" v="661" actId="47"/>
        <pc:sldMkLst>
          <pc:docMk/>
          <pc:sldMk cId="577162422" sldId="1279"/>
        </pc:sldMkLst>
      </pc:sldChg>
      <pc:sldChg chg="del">
        <pc:chgData name="Jens Ohlig" userId="2b0f5e54b98f66be" providerId="LiveId" clId="{D5F95108-1EC7-432A-83D4-F0F3F512AAED}" dt="2023-11-03T09:04:06.547" v="939" actId="47"/>
        <pc:sldMkLst>
          <pc:docMk/>
          <pc:sldMk cId="1593383663" sldId="1282"/>
        </pc:sldMkLst>
      </pc:sldChg>
      <pc:sldChg chg="delSp modSp mod">
        <pc:chgData name="Jens Ohlig" userId="2b0f5e54b98f66be" providerId="LiveId" clId="{D5F95108-1EC7-432A-83D4-F0F3F512AAED}" dt="2023-11-03T09:00:36.763" v="923" actId="1036"/>
        <pc:sldMkLst>
          <pc:docMk/>
          <pc:sldMk cId="2484458352" sldId="1283"/>
        </pc:sldMkLst>
        <pc:spChg chg="mod">
          <ac:chgData name="Jens Ohlig" userId="2b0f5e54b98f66be" providerId="LiveId" clId="{D5F95108-1EC7-432A-83D4-F0F3F512AAED}" dt="2023-11-03T09:00:13.390" v="897" actId="20577"/>
          <ac:spMkLst>
            <pc:docMk/>
            <pc:sldMk cId="2484458352" sldId="1283"/>
            <ac:spMk id="6" creationId="{28188C1F-D51F-211B-40D2-87B2EC3BB16C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24" creationId="{9180BDBA-9AEE-4C57-9075-8988567CFAF5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27" creationId="{426B6F44-01A8-4E98-9F1D-4FB771A8354B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29" creationId="{E7FF84BB-8F53-4075-8849-ADEA54658893}"/>
          </ac:spMkLst>
        </pc:spChg>
        <pc:spChg chg="del">
          <ac:chgData name="Jens Ohlig" userId="2b0f5e54b98f66be" providerId="LiveId" clId="{D5F95108-1EC7-432A-83D4-F0F3F512AAED}" dt="2023-11-03T09:00:19.822" v="898" actId="478"/>
          <ac:spMkLst>
            <pc:docMk/>
            <pc:sldMk cId="2484458352" sldId="1283"/>
            <ac:spMk id="36" creationId="{C9584530-537C-4131-A75D-CE26D4B90CC8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49" creationId="{14C8B1D2-B22A-4DEC-B394-0D5B43316180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50" creationId="{2650F2CC-75CC-4DC2-9190-D2F31102ACB7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51" creationId="{22077425-ED75-4FAB-9D82-0458685E5790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72" creationId="{5A3703F7-A5BB-4DFB-85ED-65A82FAD2C72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73" creationId="{5A3703F7-A5BB-4DFB-85ED-65A82FAD2C72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80" creationId="{A21BAA19-44BA-4F7F-B1E0-8CB9B2611648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82" creationId="{3167AA6C-6716-42A5-9A75-7EC94EB2F847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83" creationId="{6BCFA41E-4ADC-4AA1-ACCA-2BB889BB79B5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84" creationId="{42F1E764-E3BA-4602-B3A0-55356D1851A7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85" creationId="{E8051301-FEA5-4744-BE30-93C6DF68EAFF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86" creationId="{71161E9B-E07B-49A4-A1E0-7FA8EDB587AF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87" creationId="{37F9F741-036E-4940-B376-FD3F46EFF74B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88" creationId="{40F7A6CA-0B5B-428D-85F5-1EA7EACFEAF0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89" creationId="{5A3703F7-A5BB-4DFB-85ED-65A82FAD2C72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90" creationId="{20CC634F-1F69-4D35-A563-D5F7ACD70914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93" creationId="{5A3703F7-A5BB-4DFB-85ED-65A82FAD2C72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97" creationId="{764DDFC8-B11D-4158-9271-84312342D8D5}"/>
          </ac:spMkLst>
        </pc:spChg>
        <pc:spChg chg="mod">
          <ac:chgData name="Jens Ohlig" userId="2b0f5e54b98f66be" providerId="LiveId" clId="{D5F95108-1EC7-432A-83D4-F0F3F512AAED}" dt="2023-11-03T09:00:36.763" v="923" actId="1036"/>
          <ac:spMkLst>
            <pc:docMk/>
            <pc:sldMk cId="2484458352" sldId="1283"/>
            <ac:spMk id="127" creationId="{A555A079-C679-4FAB-B521-448B63558E3A}"/>
          </ac:spMkLst>
        </pc:spChg>
        <pc:graphicFrameChg chg="mod">
          <ac:chgData name="Jens Ohlig" userId="2b0f5e54b98f66be" providerId="LiveId" clId="{D5F95108-1EC7-432A-83D4-F0F3F512AAED}" dt="2023-11-03T09:00:36.763" v="923" actId="1036"/>
          <ac:graphicFrameMkLst>
            <pc:docMk/>
            <pc:sldMk cId="2484458352" sldId="1283"/>
            <ac:graphicFrameMk id="42" creationId="{436FAC65-EABA-481D-BA35-F9DD985DAE41}"/>
          </ac:graphicFrameMkLst>
        </pc:graphicFrameChg>
        <pc:graphicFrameChg chg="mod">
          <ac:chgData name="Jens Ohlig" userId="2b0f5e54b98f66be" providerId="LiveId" clId="{D5F95108-1EC7-432A-83D4-F0F3F512AAED}" dt="2023-11-03T09:00:36.763" v="923" actId="1036"/>
          <ac:graphicFrameMkLst>
            <pc:docMk/>
            <pc:sldMk cId="2484458352" sldId="1283"/>
            <ac:graphicFrameMk id="43" creationId="{BDB9E845-1CC5-4B51-ADD5-DBB5FD8C0526}"/>
          </ac:graphicFrameMkLst>
        </pc:graphicFrameChg>
      </pc:sldChg>
      <pc:sldChg chg="delSp mod">
        <pc:chgData name="Jens Ohlig" userId="2b0f5e54b98f66be" providerId="LiveId" clId="{D5F95108-1EC7-432A-83D4-F0F3F512AAED}" dt="2023-11-03T09:04:29.795" v="940" actId="478"/>
        <pc:sldMkLst>
          <pc:docMk/>
          <pc:sldMk cId="1715362900" sldId="1292"/>
        </pc:sldMkLst>
        <pc:picChg chg="del">
          <ac:chgData name="Jens Ohlig" userId="2b0f5e54b98f66be" providerId="LiveId" clId="{D5F95108-1EC7-432A-83D4-F0F3F512AAED}" dt="2023-11-03T09:04:29.795" v="940" actId="478"/>
          <ac:picMkLst>
            <pc:docMk/>
            <pc:sldMk cId="1715362900" sldId="1292"/>
            <ac:picMk id="48" creationId="{04CF0759-2DC3-4DAE-B445-2F42EDB86363}"/>
          </ac:picMkLst>
        </pc:picChg>
      </pc:sldChg>
      <pc:sldChg chg="addSp delSp modSp mod">
        <pc:chgData name="Jens Ohlig" userId="2b0f5e54b98f66be" providerId="LiveId" clId="{D5F95108-1EC7-432A-83D4-F0F3F512AAED}" dt="2023-11-03T09:03:40.593" v="935" actId="207"/>
        <pc:sldMkLst>
          <pc:docMk/>
          <pc:sldMk cId="2980981346" sldId="1293"/>
        </pc:sldMkLst>
        <pc:spChg chg="mod">
          <ac:chgData name="Jens Ohlig" userId="2b0f5e54b98f66be" providerId="LiveId" clId="{D5F95108-1EC7-432A-83D4-F0F3F512AAED}" dt="2023-11-03T09:01:39.763" v="925" actId="6549"/>
          <ac:spMkLst>
            <pc:docMk/>
            <pc:sldMk cId="2980981346" sldId="1293"/>
            <ac:spMk id="6" creationId="{28188C1F-D51F-211B-40D2-87B2EC3BB16C}"/>
          </ac:spMkLst>
        </pc:spChg>
        <pc:spChg chg="mod">
          <ac:chgData name="Jens Ohlig" userId="2b0f5e54b98f66be" providerId="LiveId" clId="{D5F95108-1EC7-432A-83D4-F0F3F512AAED}" dt="2023-11-03T09:02:48.080" v="928" actId="1076"/>
          <ac:spMkLst>
            <pc:docMk/>
            <pc:sldMk cId="2980981346" sldId="1293"/>
            <ac:spMk id="15" creationId="{5A3703F7-A5BB-4DFB-85ED-65A82FAD2C72}"/>
          </ac:spMkLst>
        </pc:spChg>
        <pc:spChg chg="mod">
          <ac:chgData name="Jens Ohlig" userId="2b0f5e54b98f66be" providerId="LiveId" clId="{D5F95108-1EC7-432A-83D4-F0F3F512AAED}" dt="2023-11-03T09:02:48.080" v="928" actId="1076"/>
          <ac:spMkLst>
            <pc:docMk/>
            <pc:sldMk cId="2980981346" sldId="1293"/>
            <ac:spMk id="16" creationId="{5A3703F7-A5BB-4DFB-85ED-65A82FAD2C72}"/>
          </ac:spMkLst>
        </pc:spChg>
        <pc:spChg chg="mod">
          <ac:chgData name="Jens Ohlig" userId="2b0f5e54b98f66be" providerId="LiveId" clId="{D5F95108-1EC7-432A-83D4-F0F3F512AAED}" dt="2023-11-03T09:02:48.080" v="928" actId="1076"/>
          <ac:spMkLst>
            <pc:docMk/>
            <pc:sldMk cId="2980981346" sldId="1293"/>
            <ac:spMk id="17" creationId="{D3A85EDE-30CB-405F-95D0-9657BE5BA72E}"/>
          </ac:spMkLst>
        </pc:spChg>
        <pc:spChg chg="add mod">
          <ac:chgData name="Jens Ohlig" userId="2b0f5e54b98f66be" providerId="LiveId" clId="{D5F95108-1EC7-432A-83D4-F0F3F512AAED}" dt="2023-11-03T09:03:25.927" v="932" actId="1076"/>
          <ac:spMkLst>
            <pc:docMk/>
            <pc:sldMk cId="2980981346" sldId="1293"/>
            <ac:spMk id="29" creationId="{B71F8706-17CB-40D2-B4BD-0D13C6E59ECB}"/>
          </ac:spMkLst>
        </pc:spChg>
        <pc:spChg chg="mod">
          <ac:chgData name="Jens Ohlig" userId="2b0f5e54b98f66be" providerId="LiveId" clId="{D5F95108-1EC7-432A-83D4-F0F3F512AAED}" dt="2023-11-03T09:02:48.080" v="928" actId="1076"/>
          <ac:spMkLst>
            <pc:docMk/>
            <pc:sldMk cId="2980981346" sldId="1293"/>
            <ac:spMk id="30" creationId="{97844598-D893-435C-ABEA-8C316815FD12}"/>
          </ac:spMkLst>
        </pc:spChg>
        <pc:spChg chg="mod">
          <ac:chgData name="Jens Ohlig" userId="2b0f5e54b98f66be" providerId="LiveId" clId="{D5F95108-1EC7-432A-83D4-F0F3F512AAED}" dt="2023-11-03T09:02:48.080" v="928" actId="1076"/>
          <ac:spMkLst>
            <pc:docMk/>
            <pc:sldMk cId="2980981346" sldId="1293"/>
            <ac:spMk id="31" creationId="{3A485FA0-8054-4CB1-A4DF-9074508C8A7A}"/>
          </ac:spMkLst>
        </pc:spChg>
        <pc:spChg chg="mod">
          <ac:chgData name="Jens Ohlig" userId="2b0f5e54b98f66be" providerId="LiveId" clId="{D5F95108-1EC7-432A-83D4-F0F3F512AAED}" dt="2023-11-03T09:02:48.080" v="928" actId="1076"/>
          <ac:spMkLst>
            <pc:docMk/>
            <pc:sldMk cId="2980981346" sldId="1293"/>
            <ac:spMk id="32" creationId="{05D46E3C-E87F-4455-91D0-349DDB756BDA}"/>
          </ac:spMkLst>
        </pc:spChg>
        <pc:spChg chg="mod">
          <ac:chgData name="Jens Ohlig" userId="2b0f5e54b98f66be" providerId="LiveId" clId="{D5F95108-1EC7-432A-83D4-F0F3F512AAED}" dt="2023-11-03T09:02:48.080" v="928" actId="1076"/>
          <ac:spMkLst>
            <pc:docMk/>
            <pc:sldMk cId="2980981346" sldId="1293"/>
            <ac:spMk id="33" creationId="{88D0F454-508C-44ED-936D-3A54BA47CDE9}"/>
          </ac:spMkLst>
        </pc:spChg>
        <pc:spChg chg="mod">
          <ac:chgData name="Jens Ohlig" userId="2b0f5e54b98f66be" providerId="LiveId" clId="{D5F95108-1EC7-432A-83D4-F0F3F512AAED}" dt="2023-11-03T09:02:48.080" v="928" actId="1076"/>
          <ac:spMkLst>
            <pc:docMk/>
            <pc:sldMk cId="2980981346" sldId="1293"/>
            <ac:spMk id="34" creationId="{860463D3-2F48-44F1-9044-95A406DCD7DA}"/>
          </ac:spMkLst>
        </pc:spChg>
        <pc:spChg chg="add mod">
          <ac:chgData name="Jens Ohlig" userId="2b0f5e54b98f66be" providerId="LiveId" clId="{D5F95108-1EC7-432A-83D4-F0F3F512AAED}" dt="2023-11-03T09:03:14.337" v="929"/>
          <ac:spMkLst>
            <pc:docMk/>
            <pc:sldMk cId="2980981346" sldId="1293"/>
            <ac:spMk id="40" creationId="{A33A8C37-BD52-4115-A4E9-097173FBEFC9}"/>
          </ac:spMkLst>
        </pc:spChg>
        <pc:spChg chg="add mod">
          <ac:chgData name="Jens Ohlig" userId="2b0f5e54b98f66be" providerId="LiveId" clId="{D5F95108-1EC7-432A-83D4-F0F3F512AAED}" dt="2023-11-03T09:03:25.927" v="932" actId="1076"/>
          <ac:spMkLst>
            <pc:docMk/>
            <pc:sldMk cId="2980981346" sldId="1293"/>
            <ac:spMk id="41" creationId="{FF9E6E50-8274-4E41-BF8E-2C7E6F4906CE}"/>
          </ac:spMkLst>
        </pc:spChg>
        <pc:spChg chg="mod">
          <ac:chgData name="Jens Ohlig" userId="2b0f5e54b98f66be" providerId="LiveId" clId="{D5F95108-1EC7-432A-83D4-F0F3F512AAED}" dt="2023-11-03T09:02:48.080" v="928" actId="1076"/>
          <ac:spMkLst>
            <pc:docMk/>
            <pc:sldMk cId="2980981346" sldId="1293"/>
            <ac:spMk id="56" creationId="{BF62825D-DAE3-49D6-9715-D9A2DCB73C64}"/>
          </ac:spMkLst>
        </pc:spChg>
        <pc:spChg chg="del">
          <ac:chgData name="Jens Ohlig" userId="2b0f5e54b98f66be" providerId="LiveId" clId="{D5F95108-1EC7-432A-83D4-F0F3F512AAED}" dt="2023-11-03T09:02:26.236" v="926" actId="478"/>
          <ac:spMkLst>
            <pc:docMk/>
            <pc:sldMk cId="2980981346" sldId="1293"/>
            <ac:spMk id="57" creationId="{7F38849E-007F-4C80-B8FB-F64BEAFD41DF}"/>
          </ac:spMkLst>
        </pc:spChg>
        <pc:spChg chg="mod">
          <ac:chgData name="Jens Ohlig" userId="2b0f5e54b98f66be" providerId="LiveId" clId="{D5F95108-1EC7-432A-83D4-F0F3F512AAED}" dt="2023-11-03T09:02:48.080" v="928" actId="1076"/>
          <ac:spMkLst>
            <pc:docMk/>
            <pc:sldMk cId="2980981346" sldId="1293"/>
            <ac:spMk id="59" creationId="{DFDC1041-92F5-4C7D-9897-26E31732D404}"/>
          </ac:spMkLst>
        </pc:spChg>
        <pc:spChg chg="del">
          <ac:chgData name="Jens Ohlig" userId="2b0f5e54b98f66be" providerId="LiveId" clId="{D5F95108-1EC7-432A-83D4-F0F3F512AAED}" dt="2023-11-03T09:02:26.236" v="926" actId="478"/>
          <ac:spMkLst>
            <pc:docMk/>
            <pc:sldMk cId="2980981346" sldId="1293"/>
            <ac:spMk id="61" creationId="{6CA0B91E-ED14-426B-B5A5-73314AA3F4A8}"/>
          </ac:spMkLst>
        </pc:spChg>
        <pc:spChg chg="del">
          <ac:chgData name="Jens Ohlig" userId="2b0f5e54b98f66be" providerId="LiveId" clId="{D5F95108-1EC7-432A-83D4-F0F3F512AAED}" dt="2023-11-03T09:02:34.567" v="927" actId="478"/>
          <ac:spMkLst>
            <pc:docMk/>
            <pc:sldMk cId="2980981346" sldId="1293"/>
            <ac:spMk id="151" creationId="{7C7B1D97-E514-FC70-2006-F1F746522043}"/>
          </ac:spMkLst>
        </pc:spChg>
        <pc:graphicFrameChg chg="mod">
          <ac:chgData name="Jens Ohlig" userId="2b0f5e54b98f66be" providerId="LiveId" clId="{D5F95108-1EC7-432A-83D4-F0F3F512AAED}" dt="2023-11-03T09:02:48.080" v="928" actId="1076"/>
          <ac:graphicFrameMkLst>
            <pc:docMk/>
            <pc:sldMk cId="2980981346" sldId="1293"/>
            <ac:graphicFrameMk id="35" creationId="{A9708D9C-0C2D-42D3-BAAF-9D042FBBAC78}"/>
          </ac:graphicFrameMkLst>
        </pc:graphicFrameChg>
        <pc:graphicFrameChg chg="mod">
          <ac:chgData name="Jens Ohlig" userId="2b0f5e54b98f66be" providerId="LiveId" clId="{D5F95108-1EC7-432A-83D4-F0F3F512AAED}" dt="2023-11-03T09:03:33.957" v="933" actId="207"/>
          <ac:graphicFrameMkLst>
            <pc:docMk/>
            <pc:sldMk cId="2980981346" sldId="1293"/>
            <ac:graphicFrameMk id="36" creationId="{86F8CB5F-3ECF-4CE3-9655-F2C6262AFA62}"/>
          </ac:graphicFrameMkLst>
        </pc:graphicFrameChg>
        <pc:graphicFrameChg chg="mod">
          <ac:chgData name="Jens Ohlig" userId="2b0f5e54b98f66be" providerId="LiveId" clId="{D5F95108-1EC7-432A-83D4-F0F3F512AAED}" dt="2023-11-03T09:03:40.593" v="935" actId="207"/>
          <ac:graphicFrameMkLst>
            <pc:docMk/>
            <pc:sldMk cId="2980981346" sldId="1293"/>
            <ac:graphicFrameMk id="37" creationId="{584C27EB-4784-405B-9DD6-3830CF2BB02E}"/>
          </ac:graphicFrameMkLst>
        </pc:graphicFrameChg>
        <pc:graphicFrameChg chg="del">
          <ac:chgData name="Jens Ohlig" userId="2b0f5e54b98f66be" providerId="LiveId" clId="{D5F95108-1EC7-432A-83D4-F0F3F512AAED}" dt="2023-11-03T09:02:26.236" v="926" actId="478"/>
          <ac:graphicFrameMkLst>
            <pc:docMk/>
            <pc:sldMk cId="2980981346" sldId="1293"/>
            <ac:graphicFrameMk id="38" creationId="{0EB46F8A-489D-4CBB-B1B1-EE58D52AFC4B}"/>
          </ac:graphicFrameMkLst>
        </pc:graphicFrameChg>
        <pc:graphicFrameChg chg="del">
          <ac:chgData name="Jens Ohlig" userId="2b0f5e54b98f66be" providerId="LiveId" clId="{D5F95108-1EC7-432A-83D4-F0F3F512AAED}" dt="2023-11-03T09:02:26.236" v="926" actId="478"/>
          <ac:graphicFrameMkLst>
            <pc:docMk/>
            <pc:sldMk cId="2980981346" sldId="1293"/>
            <ac:graphicFrameMk id="39" creationId="{6FEBEA36-8AE3-4BE8-A10A-134810258088}"/>
          </ac:graphicFrameMkLst>
        </pc:graphicFrameChg>
      </pc:sldChg>
      <pc:sldChg chg="del">
        <pc:chgData name="Jens Ohlig" userId="2b0f5e54b98f66be" providerId="LiveId" clId="{D5F95108-1EC7-432A-83D4-F0F3F512AAED}" dt="2023-11-03T09:03:55.070" v="936" actId="47"/>
        <pc:sldMkLst>
          <pc:docMk/>
          <pc:sldMk cId="1920541992" sldId="1294"/>
        </pc:sldMkLst>
      </pc:sldChg>
      <pc:sldChg chg="del">
        <pc:chgData name="Jens Ohlig" userId="2b0f5e54b98f66be" providerId="LiveId" clId="{D5F95108-1EC7-432A-83D4-F0F3F512AAED}" dt="2023-11-03T09:03:58.418" v="937" actId="47"/>
        <pc:sldMkLst>
          <pc:docMk/>
          <pc:sldMk cId="2086993240" sldId="1295"/>
        </pc:sldMkLst>
      </pc:sldChg>
      <pc:sldChg chg="del">
        <pc:chgData name="Jens Ohlig" userId="2b0f5e54b98f66be" providerId="LiveId" clId="{D5F95108-1EC7-432A-83D4-F0F3F512AAED}" dt="2023-11-03T09:04:03.106" v="938" actId="47"/>
        <pc:sldMkLst>
          <pc:docMk/>
          <pc:sldMk cId="2618774013" sldId="1296"/>
        </pc:sldMkLst>
      </pc:sldChg>
      <pc:sldChg chg="del">
        <pc:chgData name="Jens Ohlig" userId="2b0f5e54b98f66be" providerId="LiveId" clId="{D5F95108-1EC7-432A-83D4-F0F3F512AAED}" dt="2023-11-03T09:04:38.357" v="941" actId="47"/>
        <pc:sldMkLst>
          <pc:docMk/>
          <pc:sldMk cId="3547247364" sldId="1297"/>
        </pc:sldMkLst>
      </pc:sldChg>
      <pc:sldChg chg="del">
        <pc:chgData name="Jens Ohlig" userId="2b0f5e54b98f66be" providerId="LiveId" clId="{D5F95108-1EC7-432A-83D4-F0F3F512AAED}" dt="2023-11-03T09:04:38.357" v="941" actId="47"/>
        <pc:sldMkLst>
          <pc:docMk/>
          <pc:sldMk cId="4041324761" sldId="1298"/>
        </pc:sldMkLst>
      </pc:sldChg>
      <pc:sldChg chg="del">
        <pc:chgData name="Jens Ohlig" userId="2b0f5e54b98f66be" providerId="LiveId" clId="{D5F95108-1EC7-432A-83D4-F0F3F512AAED}" dt="2023-11-03T09:04:38.357" v="941" actId="47"/>
        <pc:sldMkLst>
          <pc:docMk/>
          <pc:sldMk cId="2298707261" sldId="1299"/>
        </pc:sldMkLst>
      </pc:sldChg>
      <pc:sldChg chg="del">
        <pc:chgData name="Jens Ohlig" userId="2b0f5e54b98f66be" providerId="LiveId" clId="{D5F95108-1EC7-432A-83D4-F0F3F512AAED}" dt="2023-11-03T09:04:38.357" v="941" actId="47"/>
        <pc:sldMkLst>
          <pc:docMk/>
          <pc:sldMk cId="1056116753" sldId="1300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344287949921751E-2"/>
          <c:y val="2.02729044834308E-2"/>
          <c:w val="0.90023474178403751"/>
          <c:h val="0.9594541910331384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902190923317684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CBC-477D-9355-D253B018C57D}"/>
                </c:ext>
              </c:extLst>
            </c:dLbl>
            <c:dLbl>
              <c:idx val="1"/>
              <c:layout>
                <c:manualLayout>
                  <c:x val="0.4366197183098591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CBC-477D-9355-D253B018C57D}"/>
                </c:ext>
              </c:extLst>
            </c:dLbl>
            <c:dLbl>
              <c:idx val="2"/>
              <c:layout>
                <c:manualLayout>
                  <c:x val="0.2022691705790297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CBC-477D-9355-D253B018C57D}"/>
                </c:ext>
              </c:extLst>
            </c:dLbl>
            <c:dLbl>
              <c:idx val="3"/>
              <c:layout>
                <c:manualLayout>
                  <c:x val="0.2863849765258216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CBC-477D-9355-D253B018C57D}"/>
                </c:ext>
              </c:extLst>
            </c:dLbl>
            <c:dLbl>
              <c:idx val="4"/>
              <c:layout>
                <c:manualLayout>
                  <c:x val="0.2503912363067292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CBC-477D-9355-D253B018C57D}"/>
                </c:ext>
              </c:extLst>
            </c:dLbl>
            <c:dLbl>
              <c:idx val="5"/>
              <c:layout>
                <c:manualLayout>
                  <c:x val="0.1725352112676056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CBC-477D-9355-D253B018C57D}"/>
                </c:ext>
              </c:extLst>
            </c:dLbl>
            <c:dLbl>
              <c:idx val="6"/>
              <c:layout>
                <c:manualLayout>
                  <c:x val="0.2202660406885758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CBC-477D-9355-D253B018C57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78.125</c:v>
                </c:pt>
                <c:pt idx="1">
                  <c:v>68.75</c:v>
                </c:pt>
                <c:pt idx="2">
                  <c:v>28.125</c:v>
                </c:pt>
                <c:pt idx="3">
                  <c:v>42.708333333333336</c:v>
                </c:pt>
                <c:pt idx="4">
                  <c:v>36.458333333333336</c:v>
                </c:pt>
                <c:pt idx="5">
                  <c:v>22.916666666666668</c:v>
                </c:pt>
                <c:pt idx="6">
                  <c:v>31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CBC-477D-9355-D253B018C5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64610288"/>
        <c:axId val="1"/>
      </c:barChart>
      <c:catAx>
        <c:axId val="2646102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8.12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646102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488372093023252E-2"/>
          <c:y val="1.9630049075122689E-2"/>
          <c:w val="0.73302325581395344"/>
          <c:h val="0.9607399018497546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EBA-46FA-B72C-77399D67A22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EBA-46FA-B72C-77399D67A227}"/>
              </c:ext>
            </c:extLst>
          </c:dPt>
          <c:dLbls>
            <c:dLbl>
              <c:idx val="0"/>
              <c:layout>
                <c:manualLayout>
                  <c:x val="0.451162790697674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EBA-46FA-B72C-77399D67A227}"/>
                </c:ext>
              </c:extLst>
            </c:dLbl>
            <c:dLbl>
              <c:idx val="1"/>
              <c:layout>
                <c:manualLayout>
                  <c:x val="0.3851162790697674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EBA-46FA-B72C-77399D67A227}"/>
                </c:ext>
              </c:extLst>
            </c:dLbl>
            <c:dLbl>
              <c:idx val="2"/>
              <c:layout>
                <c:manualLayout>
                  <c:x val="0.3590697674418604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EBA-46FA-B72C-77399D67A227}"/>
                </c:ext>
              </c:extLst>
            </c:dLbl>
            <c:dLbl>
              <c:idx val="3"/>
              <c:layout>
                <c:manualLayout>
                  <c:x val="0.3255813953488372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EBA-46FA-B72C-77399D67A227}"/>
                </c:ext>
              </c:extLst>
            </c:dLbl>
            <c:dLbl>
              <c:idx val="4"/>
              <c:layout>
                <c:manualLayout>
                  <c:x val="0.2846511627906976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EBA-46FA-B72C-77399D67A227}"/>
                </c:ext>
              </c:extLst>
            </c:dLbl>
            <c:dLbl>
              <c:idx val="5"/>
              <c:layout>
                <c:manualLayout>
                  <c:x val="0.2344186046511627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EBA-46FA-B72C-77399D67A227}"/>
                </c:ext>
              </c:extLst>
            </c:dLbl>
            <c:dLbl>
              <c:idx val="6"/>
              <c:layout>
                <c:manualLayout>
                  <c:x val="0.2344186046511627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EBA-46FA-B72C-77399D67A2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93.61702127659575</c:v>
                </c:pt>
                <c:pt idx="1">
                  <c:v>76.59574468085107</c:v>
                </c:pt>
                <c:pt idx="2">
                  <c:v>70.212765957446805</c:v>
                </c:pt>
                <c:pt idx="3">
                  <c:v>61.702127659574465</c:v>
                </c:pt>
                <c:pt idx="4">
                  <c:v>51.063829787234042</c:v>
                </c:pt>
                <c:pt idx="5">
                  <c:v>38.297872340425535</c:v>
                </c:pt>
                <c:pt idx="6">
                  <c:v>38.2978723404255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EBA-46FA-B72C-77399D67A2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4267407"/>
        <c:axId val="1"/>
      </c:barChart>
      <c:catAx>
        <c:axId val="16426740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3.6170212765957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42674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488372093023252E-2"/>
          <c:y val="2.0202020202020204E-2"/>
          <c:w val="0.73302325581395344"/>
          <c:h val="0.9595959595959595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51162790697674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A83-4002-8EBA-30C9C75A5473}"/>
                </c:ext>
              </c:extLst>
            </c:dLbl>
            <c:dLbl>
              <c:idx val="1"/>
              <c:layout>
                <c:manualLayout>
                  <c:x val="0.4223255813953488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A83-4002-8EBA-30C9C75A5473}"/>
                </c:ext>
              </c:extLst>
            </c:dLbl>
            <c:dLbl>
              <c:idx val="2"/>
              <c:layout>
                <c:manualLayout>
                  <c:x val="0.4083720930232558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A83-4002-8EBA-30C9C75A5473}"/>
                </c:ext>
              </c:extLst>
            </c:dLbl>
            <c:dLbl>
              <c:idx val="3"/>
              <c:layout>
                <c:manualLayout>
                  <c:x val="0.3525581395348837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A83-4002-8EBA-30C9C75A5473}"/>
                </c:ext>
              </c:extLst>
            </c:dLbl>
            <c:dLbl>
              <c:idx val="4"/>
              <c:layout>
                <c:manualLayout>
                  <c:x val="0.3237209302325581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A83-4002-8EBA-30C9C75A5473}"/>
                </c:ext>
              </c:extLst>
            </c:dLbl>
            <c:dLbl>
              <c:idx val="5"/>
              <c:layout>
                <c:manualLayout>
                  <c:x val="0.2390697674418604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A83-4002-8EBA-30C9C75A5473}"/>
                </c:ext>
              </c:extLst>
            </c:dLbl>
            <c:dLbl>
              <c:idx val="6"/>
              <c:layout>
                <c:manualLayout>
                  <c:x val="0.1544186046511627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A83-4002-8EBA-30C9C75A5473}"/>
                </c:ext>
              </c:extLst>
            </c:dLbl>
            <c:dLbl>
              <c:idx val="7"/>
              <c:layout>
                <c:manualLayout>
                  <c:x val="0.1544186046511627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A83-4002-8EBA-30C9C75A5473}"/>
                </c:ext>
              </c:extLst>
            </c:dLbl>
            <c:dLbl>
              <c:idx val="8"/>
              <c:layout>
                <c:manualLayout>
                  <c:x val="0.1265116279069767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A83-4002-8EBA-30C9C75A5473}"/>
                </c:ext>
              </c:extLst>
            </c:dLbl>
            <c:dLbl>
              <c:idx val="9"/>
              <c:layout>
                <c:manualLayout>
                  <c:x val="0.1265116279069767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A83-4002-8EBA-30C9C75A54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27.083333333333332</c:v>
                </c:pt>
                <c:pt idx="1">
                  <c:v>25</c:v>
                </c:pt>
                <c:pt idx="2">
                  <c:v>23.958333333333336</c:v>
                </c:pt>
                <c:pt idx="3">
                  <c:v>19.791666666666664</c:v>
                </c:pt>
                <c:pt idx="4">
                  <c:v>17.708333333333336</c:v>
                </c:pt>
                <c:pt idx="5">
                  <c:v>11.458333333333332</c:v>
                </c:pt>
                <c:pt idx="6">
                  <c:v>7.291666666666667</c:v>
                </c:pt>
                <c:pt idx="7">
                  <c:v>7.291666666666667</c:v>
                </c:pt>
                <c:pt idx="8">
                  <c:v>5.2083333333333339</c:v>
                </c:pt>
                <c:pt idx="9">
                  <c:v>5.2083333333333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A83-4002-8EBA-30C9C75A54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3084559"/>
        <c:axId val="1"/>
      </c:barChart>
      <c:catAx>
        <c:axId val="212308455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.08333333333333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1230845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315413608411029E-2"/>
          <c:y val="0.12832550860719874"/>
          <c:w val="0.97936917278317792"/>
          <c:h val="0.830985915492957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45226917057902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71C-47D7-8038-15AA30EC87E6}"/>
                </c:ext>
              </c:extLst>
            </c:dLbl>
            <c:dLbl>
              <c:idx val="1"/>
              <c:layout>
                <c:manualLayout>
                  <c:x val="0"/>
                  <c:y val="-0.420970266040688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71C-47D7-8038-15AA30EC87E6}"/>
                </c:ext>
              </c:extLst>
            </c:dLbl>
            <c:dLbl>
              <c:idx val="2"/>
              <c:layout>
                <c:manualLayout>
                  <c:x val="0"/>
                  <c:y val="-0.4710485133020344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71C-47D7-8038-15AA30EC87E6}"/>
                </c:ext>
              </c:extLst>
            </c:dLbl>
            <c:dLbl>
              <c:idx val="3"/>
              <c:layout>
                <c:manualLayout>
                  <c:x val="0"/>
                  <c:y val="-0.480438184663536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71C-47D7-8038-15AA30EC87E6}"/>
                </c:ext>
              </c:extLst>
            </c:dLbl>
            <c:dLbl>
              <c:idx val="4"/>
              <c:layout>
                <c:manualLayout>
                  <c:x val="0"/>
                  <c:y val="-0.433489827856025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71C-47D7-8038-15AA30EC87E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91.666666666666657</c:v>
                </c:pt>
                <c:pt idx="1">
                  <c:v>85.714285714285708</c:v>
                </c:pt>
                <c:pt idx="2">
                  <c:v>97.872340425531917</c:v>
                </c:pt>
                <c:pt idx="3">
                  <c:v>100</c:v>
                </c:pt>
                <c:pt idx="4">
                  <c:v>88.732394366197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71C-47D7-8038-15AA30EC8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35683903"/>
        <c:axId val="1"/>
      </c:barChart>
      <c:catAx>
        <c:axId val="10356839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356839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344287949921751E-2"/>
          <c:y val="2.02729044834308E-2"/>
          <c:w val="0.90023474178403751"/>
          <c:h val="0.9594541910331384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8.2550860719874802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8E6-4FA7-B2EB-EC8670052A69}"/>
                </c:ext>
              </c:extLst>
            </c:dLbl>
            <c:dLbl>
              <c:idx val="1"/>
              <c:layout>
                <c:manualLayout>
                  <c:x val="0.28403755868544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8E6-4FA7-B2EB-EC8670052A69}"/>
                </c:ext>
              </c:extLst>
            </c:dLbl>
            <c:dLbl>
              <c:idx val="2"/>
              <c:layout>
                <c:manualLayout>
                  <c:x val="0.4902190923317684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8E6-4FA7-B2EB-EC8670052A69}"/>
                </c:ext>
              </c:extLst>
            </c:dLbl>
            <c:dLbl>
              <c:idx val="3"/>
              <c:layout>
                <c:manualLayout>
                  <c:x val="0.3841940532081377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8E6-4FA7-B2EB-EC8670052A69}"/>
                </c:ext>
              </c:extLst>
            </c:dLbl>
            <c:dLbl>
              <c:idx val="4"/>
              <c:layout>
                <c:manualLayout>
                  <c:x val="0.2902973395931142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8E6-4FA7-B2EB-EC8670052A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9.375</c:v>
                </c:pt>
                <c:pt idx="1">
                  <c:v>40.625</c:v>
                </c:pt>
                <c:pt idx="2">
                  <c:v>75</c:v>
                </c:pt>
                <c:pt idx="3">
                  <c:v>57.291666666666671</c:v>
                </c:pt>
                <c:pt idx="4">
                  <c:v>41.666666666666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8E6-4FA7-B2EB-EC8670052A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89543583"/>
        <c:axId val="1"/>
      </c:barChart>
      <c:catAx>
        <c:axId val="168954358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895435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344287949921751E-2"/>
          <c:y val="1.9652305366591082E-2"/>
          <c:w val="0.90023474178403751"/>
          <c:h val="0.9606953892668178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55242566510172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E4A-4C42-9014-FF833A9D0B2D}"/>
                </c:ext>
              </c:extLst>
            </c:dLbl>
            <c:dLbl>
              <c:idx val="1"/>
              <c:layout>
                <c:manualLayout>
                  <c:x val="0.4902190923317684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E4A-4C42-9014-FF833A9D0B2D}"/>
                </c:ext>
              </c:extLst>
            </c:dLbl>
            <c:dLbl>
              <c:idx val="2"/>
              <c:layout>
                <c:manualLayout>
                  <c:x val="0.2527386541471048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E4A-4C42-9014-FF833A9D0B2D}"/>
                </c:ext>
              </c:extLst>
            </c:dLbl>
            <c:dLbl>
              <c:idx val="3"/>
              <c:layout>
                <c:manualLayout>
                  <c:x val="0.420970266040688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E4A-4C42-9014-FF833A9D0B2D}"/>
                </c:ext>
              </c:extLst>
            </c:dLbl>
            <c:dLbl>
              <c:idx val="4"/>
              <c:layout>
                <c:manualLayout>
                  <c:x val="0.2676056338028168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E4A-4C42-9014-FF833A9D0B2D}"/>
                </c:ext>
              </c:extLst>
            </c:dLbl>
            <c:dLbl>
              <c:idx val="5"/>
              <c:layout>
                <c:manualLayout>
                  <c:x val="0.347026604068857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E4A-4C42-9014-FF833A9D0B2D}"/>
                </c:ext>
              </c:extLst>
            </c:dLbl>
            <c:dLbl>
              <c:idx val="6"/>
              <c:layout>
                <c:manualLayout>
                  <c:x val="0.3568075117370891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E4A-4C42-9014-FF833A9D0B2D}"/>
                </c:ext>
              </c:extLst>
            </c:dLbl>
            <c:dLbl>
              <c:idx val="7"/>
              <c:layout>
                <c:manualLayout>
                  <c:x val="0.4557902973395930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E4A-4C42-9014-FF833A9D0B2D}"/>
                </c:ext>
              </c:extLst>
            </c:dLbl>
            <c:dLbl>
              <c:idx val="8"/>
              <c:layout>
                <c:manualLayout>
                  <c:x val="0.406103286384976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E4A-4C42-9014-FF833A9D0B2D}"/>
                </c:ext>
              </c:extLst>
            </c:dLbl>
            <c:dLbl>
              <c:idx val="9"/>
              <c:layout>
                <c:manualLayout>
                  <c:x val="0.2433489827856024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E4A-4C42-9014-FF833A9D0B2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93.75</c:v>
                </c:pt>
                <c:pt idx="1">
                  <c:v>94.791666666666657</c:v>
                </c:pt>
                <c:pt idx="2">
                  <c:v>44.791666666666671</c:v>
                </c:pt>
                <c:pt idx="3">
                  <c:v>80.208333333333329</c:v>
                </c:pt>
                <c:pt idx="4">
                  <c:v>47.916666666666664</c:v>
                </c:pt>
                <c:pt idx="5">
                  <c:v>64.583333333333343</c:v>
                </c:pt>
                <c:pt idx="6">
                  <c:v>66.666666666666657</c:v>
                </c:pt>
                <c:pt idx="7">
                  <c:v>87.5</c:v>
                </c:pt>
                <c:pt idx="8">
                  <c:v>77.083333333333343</c:v>
                </c:pt>
                <c:pt idx="9">
                  <c:v>42.708333333333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E4A-4C42-9014-FF833A9D0B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0907615"/>
        <c:axId val="1"/>
      </c:barChart>
      <c:catAx>
        <c:axId val="41090761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4.79166666666665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109076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021619330224672E-2"/>
          <c:y val="2.0891924467657693E-2"/>
          <c:w val="0.97795676133955067"/>
          <c:h val="0.9582161510646846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9.1140313692242483E-3"/>
                  <c:y val="-6.106870229007633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171-4C2E-A796-BA6CB965108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171-4C2E-A796-BA6CB965108C}"/>
                </c:ext>
              </c:extLst>
            </c:dLbl>
            <c:dLbl>
              <c:idx val="2"/>
              <c:layout>
                <c:manualLayout>
                  <c:x val="1.1233573548113607E-2"/>
                  <c:y val="-6.106870229007633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171-4C2E-A796-BA6CB965108C}"/>
                </c:ext>
              </c:extLst>
            </c:dLbl>
            <c:dLbl>
              <c:idx val="4"/>
              <c:layout>
                <c:manualLayout>
                  <c:x val="9.1140313692242483E-3"/>
                  <c:y val="-6.106870229007633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171-4C2E-A796-BA6CB965108C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171-4C2E-A796-BA6CB965108C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171-4C2E-A796-BA6CB96510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2.083333333333333</c:v>
                </c:pt>
                <c:pt idx="1">
                  <c:v>4.1666666666666661</c:v>
                </c:pt>
                <c:pt idx="2">
                  <c:v>1.0416666666666665</c:v>
                </c:pt>
                <c:pt idx="3">
                  <c:v>2.083333333333333</c:v>
                </c:pt>
                <c:pt idx="4">
                  <c:v>2.083333333333333</c:v>
                </c:pt>
                <c:pt idx="5">
                  <c:v>7.291666666666667</c:v>
                </c:pt>
                <c:pt idx="6">
                  <c:v>7.291666666666667</c:v>
                </c:pt>
                <c:pt idx="7">
                  <c:v>2.08333333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171-4C2E-A796-BA6CB965108C}"/>
            </c:ext>
          </c:extLst>
        </c:ser>
        <c:ser>
          <c:idx val="1"/>
          <c:order val="1"/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171-4C2E-A796-BA6CB965108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171-4C2E-A796-BA6CB965108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171-4C2E-A796-BA6CB965108C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171-4C2E-A796-BA6CB965108C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171-4C2E-A796-BA6CB965108C}"/>
                </c:ext>
              </c:extLst>
            </c:dLbl>
            <c:dLbl>
              <c:idx val="5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171-4C2E-A796-BA6CB965108C}"/>
                </c:ext>
              </c:extLst>
            </c:dLbl>
            <c:dLbl>
              <c:idx val="6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171-4C2E-A796-BA6CB965108C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171-4C2E-A796-BA6CB96510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0">
                  <c:v>3.1249999999999996</c:v>
                </c:pt>
                <c:pt idx="1">
                  <c:v>3.1249999999999991</c:v>
                </c:pt>
                <c:pt idx="2">
                  <c:v>4.1666666666666661</c:v>
                </c:pt>
                <c:pt idx="3">
                  <c:v>4.166666666666667</c:v>
                </c:pt>
                <c:pt idx="4">
                  <c:v>3.1249999999999996</c:v>
                </c:pt>
                <c:pt idx="5">
                  <c:v>8.3333333333333321</c:v>
                </c:pt>
                <c:pt idx="6">
                  <c:v>9.3750000000000018</c:v>
                </c:pt>
                <c:pt idx="7">
                  <c:v>5.2083333333333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A171-4C2E-A796-BA6CB965108C}"/>
            </c:ext>
          </c:extLst>
        </c:ser>
        <c:ser>
          <c:idx val="2"/>
          <c:order val="2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A171-4C2E-A796-BA6CB965108C}"/>
                </c:ext>
              </c:extLst>
            </c:dLbl>
            <c:dLbl>
              <c:idx val="1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A171-4C2E-A796-BA6CB965108C}"/>
                </c:ext>
              </c:extLst>
            </c:dLbl>
            <c:dLbl>
              <c:idx val="2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A171-4C2E-A796-BA6CB965108C}"/>
                </c:ext>
              </c:extLst>
            </c:dLbl>
            <c:dLbl>
              <c:idx val="3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A171-4C2E-A796-BA6CB965108C}"/>
                </c:ext>
              </c:extLst>
            </c:dLbl>
            <c:dLbl>
              <c:idx val="4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A171-4C2E-A796-BA6CB965108C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A171-4C2E-A796-BA6CB965108C}"/>
                </c:ext>
              </c:extLst>
            </c:dLbl>
            <c:dLbl>
              <c:idx val="6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A171-4C2E-A796-BA6CB965108C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A171-4C2E-A796-BA6CB96510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0">
                  <c:v>8.3333333333333321</c:v>
                </c:pt>
                <c:pt idx="1">
                  <c:v>9.375</c:v>
                </c:pt>
                <c:pt idx="2">
                  <c:v>13.541666666666668</c:v>
                </c:pt>
                <c:pt idx="3">
                  <c:v>13.541666666666666</c:v>
                </c:pt>
                <c:pt idx="4">
                  <c:v>15.625</c:v>
                </c:pt>
                <c:pt idx="5">
                  <c:v>16.666666666666664</c:v>
                </c:pt>
                <c:pt idx="6">
                  <c:v>18.75</c:v>
                </c:pt>
                <c:pt idx="7">
                  <c:v>32.291666666666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A171-4C2E-A796-BA6CB965108C}"/>
            </c:ext>
          </c:extLst>
        </c:ser>
        <c:ser>
          <c:idx val="3"/>
          <c:order val="3"/>
          <c:spPr>
            <a:solidFill>
              <a:srgbClr val="6F8DB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A171-4C2E-A796-BA6CB965108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A171-4C2E-A796-BA6CB965108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A171-4C2E-A796-BA6CB965108C}"/>
                </c:ext>
              </c:extLst>
            </c:dLbl>
            <c:dLbl>
              <c:idx val="3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A171-4C2E-A796-BA6CB965108C}"/>
                </c:ext>
              </c:extLst>
            </c:dLbl>
            <c:dLbl>
              <c:idx val="4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A171-4C2E-A796-BA6CB965108C}"/>
                </c:ext>
              </c:extLst>
            </c:dLbl>
            <c:dLbl>
              <c:idx val="5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A171-4C2E-A796-BA6CB965108C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A171-4C2E-A796-BA6CB965108C}"/>
                </c:ext>
              </c:extLst>
            </c:dLbl>
            <c:dLbl>
              <c:idx val="7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A171-4C2E-A796-BA6CB96510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H$4</c:f>
              <c:numCache>
                <c:formatCode>General</c:formatCode>
                <c:ptCount val="8"/>
                <c:pt idx="0">
                  <c:v>38.541666666666671</c:v>
                </c:pt>
                <c:pt idx="1">
                  <c:v>44.791666666666671</c:v>
                </c:pt>
                <c:pt idx="2">
                  <c:v>58.333333333333336</c:v>
                </c:pt>
                <c:pt idx="3">
                  <c:v>53.125</c:v>
                </c:pt>
                <c:pt idx="4">
                  <c:v>52.08333333333335</c:v>
                </c:pt>
                <c:pt idx="5">
                  <c:v>19.791666666666664</c:v>
                </c:pt>
                <c:pt idx="6">
                  <c:v>37.500000000000007</c:v>
                </c:pt>
                <c:pt idx="7">
                  <c:v>46.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A171-4C2E-A796-BA6CB965108C}"/>
            </c:ext>
          </c:extLst>
        </c:ser>
        <c:ser>
          <c:idx val="4"/>
          <c:order val="4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A171-4C2E-A796-BA6CB965108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A171-4C2E-A796-BA6CB965108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A171-4C2E-A796-BA6CB965108C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A171-4C2E-A796-BA6CB965108C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A171-4C2E-A796-BA6CB965108C}"/>
                </c:ext>
              </c:extLst>
            </c:dLbl>
            <c:dLbl>
              <c:idx val="5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A171-4C2E-A796-BA6CB965108C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A171-4C2E-A796-BA6CB965108C}"/>
                </c:ext>
              </c:extLst>
            </c:dLbl>
            <c:dLbl>
              <c:idx val="7"/>
              <c:layout>
                <c:manualLayout>
                  <c:x val="-2.119542178889359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A171-4C2E-A796-BA6CB96510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H$5</c:f>
              <c:numCache>
                <c:formatCode>General</c:formatCode>
                <c:ptCount val="8"/>
                <c:pt idx="0">
                  <c:v>47.916666666666664</c:v>
                </c:pt>
                <c:pt idx="1">
                  <c:v>38.541666666666664</c:v>
                </c:pt>
                <c:pt idx="2">
                  <c:v>22.916666666666664</c:v>
                </c:pt>
                <c:pt idx="3">
                  <c:v>27.083333333333336</c:v>
                </c:pt>
                <c:pt idx="4">
                  <c:v>27.083333333333325</c:v>
                </c:pt>
                <c:pt idx="5">
                  <c:v>47.916666666666671</c:v>
                </c:pt>
                <c:pt idx="6">
                  <c:v>27.083333333333325</c:v>
                </c:pt>
                <c:pt idx="7">
                  <c:v>13.541666666666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A171-4C2E-A796-BA6CB96510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39371983"/>
        <c:axId val="1"/>
      </c:barChart>
      <c:catAx>
        <c:axId val="113937198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393719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874773139745917E-2"/>
          <c:y val="2.9833620195065979E-2"/>
          <c:w val="0.96225045372050821"/>
          <c:h val="0.9403327596098680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7EB53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AB7-4BF9-9EE6-B6D795294335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AB7-4BF9-9EE6-B6D795294335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AB7-4BF9-9EE6-B6D795294335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AB7-4BF9-9EE6-B6D795294335}"/>
                </c:ext>
              </c:extLst>
            </c:dLbl>
            <c:dLbl>
              <c:idx val="4"/>
              <c:layout>
                <c:manualLayout>
                  <c:x val="-3.629764065335752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AB7-4BF9-9EE6-B6D7952943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3.75</c:v>
                </c:pt>
                <c:pt idx="1">
                  <c:v>46.938775510204081</c:v>
                </c:pt>
                <c:pt idx="2">
                  <c:v>40.425531914893611</c:v>
                </c:pt>
                <c:pt idx="3">
                  <c:v>68</c:v>
                </c:pt>
                <c:pt idx="4">
                  <c:v>35.21126760563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AB7-4BF9-9EE6-B6D795294335}"/>
            </c:ext>
          </c:extLst>
        </c:ser>
        <c:ser>
          <c:idx val="1"/>
          <c:order val="1"/>
          <c:spPr>
            <a:solidFill>
              <a:srgbClr val="F7C92D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AB7-4BF9-9EE6-B6D795294335}"/>
                </c:ext>
              </c:extLst>
            </c:dLbl>
            <c:dLbl>
              <c:idx val="1"/>
              <c:layout>
                <c:manualLayout>
                  <c:x val="-3.6297640653357529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AB7-4BF9-9EE6-B6D795294335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AB7-4BF9-9EE6-B6D795294335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AB7-4BF9-9EE6-B6D795294335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AB7-4BF9-9EE6-B6D79529433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56.25</c:v>
                </c:pt>
                <c:pt idx="1">
                  <c:v>53.061224489795912</c:v>
                </c:pt>
                <c:pt idx="2">
                  <c:v>59.574468085106382</c:v>
                </c:pt>
                <c:pt idx="3">
                  <c:v>31.999999999999996</c:v>
                </c:pt>
                <c:pt idx="4">
                  <c:v>64.7887323943662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AB7-4BF9-9EE6-B6D7952943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86508671"/>
        <c:axId val="1"/>
      </c:barChart>
      <c:catAx>
        <c:axId val="198650867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9865086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874773139745917E-2"/>
          <c:y val="2.9833620195065979E-2"/>
          <c:w val="0.96225045372050821"/>
          <c:h val="0.9403327596098680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5163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9CE-4045-B0D6-FA8ED9A4DC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9CE-4045-B0D6-FA8ED9A4DC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9CE-4045-B0D6-FA8ED9A4DC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9CE-4045-B0D6-FA8ED9A4DCA3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9CE-4045-B0D6-FA8ED9A4DC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8.3333333333333321</c:v>
                </c:pt>
                <c:pt idx="1">
                  <c:v>4.0816326530612246</c:v>
                </c:pt>
                <c:pt idx="2">
                  <c:v>12.76595744680851</c:v>
                </c:pt>
                <c:pt idx="3">
                  <c:v>12</c:v>
                </c:pt>
                <c:pt idx="4">
                  <c:v>7.0422535211267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9CE-4045-B0D6-FA8ED9A4DCA3}"/>
            </c:ext>
          </c:extLst>
        </c:ser>
        <c:ser>
          <c:idx val="1"/>
          <c:order val="1"/>
          <c:spPr>
            <a:solidFill>
              <a:srgbClr val="FFC38D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9CE-4045-B0D6-FA8ED9A4DCA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9CE-4045-B0D6-FA8ED9A4DCA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9CE-4045-B0D6-FA8ED9A4DCA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9CE-4045-B0D6-FA8ED9A4DCA3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9CE-4045-B0D6-FA8ED9A4DC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91.666666666666657</c:v>
                </c:pt>
                <c:pt idx="1">
                  <c:v>95.918367346938766</c:v>
                </c:pt>
                <c:pt idx="2">
                  <c:v>87.2340425531915</c:v>
                </c:pt>
                <c:pt idx="3">
                  <c:v>88</c:v>
                </c:pt>
                <c:pt idx="4">
                  <c:v>92.957746478873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9CE-4045-B0D6-FA8ED9A4D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41817151"/>
        <c:axId val="1"/>
      </c:barChart>
      <c:catAx>
        <c:axId val="204181715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418171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297252289758538E-2"/>
          <c:y val="1.9630049075122689E-2"/>
          <c:w val="0.80599500416319736"/>
          <c:h val="0.9607399018497546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78767693588676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438-44EC-B35F-C828B1DF9789}"/>
                </c:ext>
              </c:extLst>
            </c:dLbl>
            <c:dLbl>
              <c:idx val="1"/>
              <c:layout>
                <c:manualLayout>
                  <c:x val="0.3863447127393838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438-44EC-B35F-C828B1DF9789}"/>
                </c:ext>
              </c:extLst>
            </c:dLbl>
            <c:dLbl>
              <c:idx val="2"/>
              <c:layout>
                <c:manualLayout>
                  <c:x val="0.3597002497918401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438-44EC-B35F-C828B1DF9789}"/>
                </c:ext>
              </c:extLst>
            </c:dLbl>
            <c:dLbl>
              <c:idx val="3"/>
              <c:layout>
                <c:manualLayout>
                  <c:x val="0.283930058284762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438-44EC-B35F-C828B1DF9789}"/>
                </c:ext>
              </c:extLst>
            </c:dLbl>
            <c:dLbl>
              <c:idx val="4"/>
              <c:layout>
                <c:manualLayout>
                  <c:x val="0.2572855953372190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438-44EC-B35F-C828B1DF9789}"/>
                </c:ext>
              </c:extLst>
            </c:dLbl>
            <c:dLbl>
              <c:idx val="5"/>
              <c:layout>
                <c:manualLayout>
                  <c:x val="0.2214820982514571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438-44EC-B35F-C828B1DF9789}"/>
                </c:ext>
              </c:extLst>
            </c:dLbl>
            <c:dLbl>
              <c:idx val="6"/>
              <c:layout>
                <c:manualLayout>
                  <c:x val="0.2039966694421315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438-44EC-B35F-C828B1DF97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94.791666666666671</c:v>
                </c:pt>
                <c:pt idx="1">
                  <c:v>72.916666666666657</c:v>
                </c:pt>
                <c:pt idx="2">
                  <c:v>66.666666666666657</c:v>
                </c:pt>
                <c:pt idx="3">
                  <c:v>48.958333333333329</c:v>
                </c:pt>
                <c:pt idx="4">
                  <c:v>42.708333333333329</c:v>
                </c:pt>
                <c:pt idx="5">
                  <c:v>34.375</c:v>
                </c:pt>
                <c:pt idx="6">
                  <c:v>30.208333333333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438-44EC-B35F-C828B1DF97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4240607"/>
        <c:axId val="1"/>
      </c:barChart>
      <c:catAx>
        <c:axId val="16424060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4.79166666666667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42406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488372093023252E-2"/>
          <c:y val="1.9630049075122689E-2"/>
          <c:w val="0.73302325581395344"/>
          <c:h val="0.9607399018497546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58B-4F86-8F5A-96A26DA411A5}"/>
              </c:ext>
            </c:extLst>
          </c:dPt>
          <c:dLbls>
            <c:dLbl>
              <c:idx val="0"/>
              <c:layout>
                <c:manualLayout>
                  <c:x val="0.451162790697674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58B-4F86-8F5A-96A26DA411A5}"/>
                </c:ext>
              </c:extLst>
            </c:dLbl>
            <c:dLbl>
              <c:idx val="1"/>
              <c:layout>
                <c:manualLayout>
                  <c:x val="0.349767441860465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58B-4F86-8F5A-96A26DA411A5}"/>
                </c:ext>
              </c:extLst>
            </c:dLbl>
            <c:dLbl>
              <c:idx val="2"/>
              <c:layout>
                <c:manualLayout>
                  <c:x val="0.3265116279069767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58B-4F86-8F5A-96A26DA411A5}"/>
                </c:ext>
              </c:extLst>
            </c:dLbl>
            <c:dLbl>
              <c:idx val="3"/>
              <c:layout>
                <c:manualLayout>
                  <c:x val="0.2251162790697674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58B-4F86-8F5A-96A26DA411A5}"/>
                </c:ext>
              </c:extLst>
            </c:dLbl>
            <c:dLbl>
              <c:idx val="4"/>
              <c:layout>
                <c:manualLayout>
                  <c:x val="0.2167441860465116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58B-4F86-8F5A-96A26DA411A5}"/>
                </c:ext>
              </c:extLst>
            </c:dLbl>
            <c:dLbl>
              <c:idx val="5"/>
              <c:layout>
                <c:manualLayout>
                  <c:x val="0.2009302325581395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58B-4F86-8F5A-96A26DA411A5}"/>
                </c:ext>
              </c:extLst>
            </c:dLbl>
            <c:dLbl>
              <c:idx val="6"/>
              <c:layout>
                <c:manualLayout>
                  <c:x val="0.1702325581395348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58B-4F86-8F5A-96A26DA411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95.918367346938766</c:v>
                </c:pt>
                <c:pt idx="1">
                  <c:v>69.387755102040813</c:v>
                </c:pt>
                <c:pt idx="2">
                  <c:v>63.265306122448983</c:v>
                </c:pt>
                <c:pt idx="3">
                  <c:v>36.734693877551017</c:v>
                </c:pt>
                <c:pt idx="4">
                  <c:v>34.693877551020407</c:v>
                </c:pt>
                <c:pt idx="5">
                  <c:v>30.612244897959183</c:v>
                </c:pt>
                <c:pt idx="6">
                  <c:v>22.448979591836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58B-4F86-8F5A-96A26DA411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33532495"/>
        <c:axId val="1"/>
      </c:barChart>
      <c:catAx>
        <c:axId val="213353249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5.91836734693876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1335324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8DE0D6B-564B-40DA-888C-4F4DBEA8B66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804919" y="9452124"/>
            <a:ext cx="442814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pPr>
              <a:spcAft>
                <a:spcPts val="600"/>
              </a:spcAft>
            </a:pPr>
            <a:fld id="{E38A5054-E2B2-4BC4-A606-4E1F8420617D}" type="datetimeFigureOut">
              <a:rPr lang="de-DE" sz="700"/>
              <a:pPr>
                <a:spcAft>
                  <a:spcPts val="600"/>
                </a:spcAft>
              </a:pPr>
              <a:t>03.11.2023</a:t>
            </a:fld>
            <a:endParaRPr lang="de-DE" sz="7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553D44F-B264-448E-B4B3-615A8557BA4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654866" y="9559846"/>
            <a:ext cx="4836652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pPr>
              <a:spcAft>
                <a:spcPts val="600"/>
              </a:spcAft>
            </a:pPr>
            <a:endParaRPr lang="de-DE" sz="7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47BD97F-75F3-49E1-9536-A0AB3353118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67761" y="9559846"/>
            <a:ext cx="182742" cy="107722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pPr algn="l">
              <a:spcAft>
                <a:spcPts val="600"/>
              </a:spcAft>
            </a:pPr>
            <a:fld id="{E02F63AE-9EB1-41A8-9C82-D14621EE7C2F}" type="slidenum">
              <a:rPr lang="de-DE" sz="700"/>
              <a:pPr algn="l">
                <a:spcAft>
                  <a:spcPts val="600"/>
                </a:spcAft>
              </a:pPr>
              <a:t>‹Nr.›</a:t>
            </a:fld>
            <a:endParaRPr lang="de-DE" sz="700"/>
          </a:p>
        </p:txBody>
      </p:sp>
    </p:spTree>
    <p:extLst>
      <p:ext uri="{BB962C8B-B14F-4D97-AF65-F5344CB8AC3E}">
        <p14:creationId xmlns:p14="http://schemas.microsoft.com/office/powerpoint/2010/main" val="298334840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98120" y="9551337"/>
            <a:ext cx="4999213" cy="11623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rtl="0">
              <a:defRPr lang="de-DE" sz="700" dirty="0"/>
            </a:lvl1pPr>
          </a:lstStyle>
          <a:p>
            <a:pPr>
              <a:spcAft>
                <a:spcPts val="600"/>
              </a:spcAft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804919" y="9452124"/>
            <a:ext cx="442814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rtl="0">
              <a:defRPr lang="de-DE" sz="700" smtClean="0"/>
            </a:lvl1pPr>
          </a:lstStyle>
          <a:p>
            <a:pPr algn="r">
              <a:spcAft>
                <a:spcPts val="600"/>
              </a:spcAft>
            </a:pPr>
            <a:fld id="{ADCC9257-0230-4B2C-887B-9C96BA5CED8B}" type="datetimeFigureOut">
              <a:rPr lang="de-DE" smtClean="0"/>
              <a:pPr algn="r">
                <a:spcAft>
                  <a:spcPts val="600"/>
                </a:spcAft>
              </a:pPr>
              <a:t>03.11.202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67761" y="9559846"/>
            <a:ext cx="182742" cy="107722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rtl="0">
              <a:defRPr lang="de-DE" sz="700" smtClean="0"/>
            </a:lvl1pPr>
          </a:lstStyle>
          <a:p>
            <a:pPr>
              <a:spcAft>
                <a:spcPts val="600"/>
              </a:spcAft>
            </a:pPr>
            <a:fld id="{9FCCE027-5007-4E59-9B03-F9F4DC369070}" type="slidenum">
              <a:rPr lang="de-DE" smtClean="0"/>
              <a:pPr>
                <a:spcAft>
                  <a:spcPts val="600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14919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66700" indent="-266700" algn="l" defTabSz="914400" rtl="0" eaLnBrk="1" latinLnBrk="0" hangingPunct="1">
      <a:spcAft>
        <a:spcPts val="600"/>
      </a:spcAft>
      <a:buFont typeface="Montserrat" panose="00000500000000000000" pitchFamily="2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2925" indent="-276225" algn="l" defTabSz="914400" rtl="0" eaLnBrk="1" latinLnBrk="0" hangingPunct="1">
      <a:spcAft>
        <a:spcPts val="6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09625" indent="-266700" algn="l" defTabSz="914400" rtl="0" eaLnBrk="1" latinLnBrk="0" hangingPunct="1">
      <a:spcAft>
        <a:spcPts val="600"/>
      </a:spcAft>
      <a:buFont typeface="Montserrat" panose="00000500000000000000" pitchFamily="2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467761" y="9559846"/>
            <a:ext cx="32060" cy="107722"/>
          </a:xfrm>
        </p:spPr>
        <p:txBody>
          <a:bodyPr/>
          <a:lstStyle/>
          <a:p>
            <a:fld id="{9FCCE027-5007-4E59-9B03-F9F4DC369070}" type="slidenum">
              <a:rPr lang="de-DE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60792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467761" y="9559846"/>
            <a:ext cx="51296" cy="107722"/>
          </a:xfrm>
        </p:spPr>
        <p:txBody>
          <a:bodyPr/>
          <a:lstStyle/>
          <a:p>
            <a:pPr>
              <a:spcAft>
                <a:spcPts val="600"/>
              </a:spcAft>
            </a:pPr>
            <a:fld id="{9FCCE027-5007-4E59-9B03-F9F4DC369070}" type="slidenum">
              <a:rPr lang="de-DE" smtClean="0"/>
              <a:pPr>
                <a:spcAft>
                  <a:spcPts val="600"/>
                </a:spcAft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4171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4.xml"/><Relationship Id="rId7" Type="http://schemas.openxmlformats.org/officeDocument/2006/relationships/image" Target="../media/image6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4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4.jpe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image" Target="../media/image5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A29CEC3-7273-4704-B9E0-E279BB7A0A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045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A29CEC3-7273-4704-B9E0-E279BB7A0A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platzhalter 5">
            <a:extLst>
              <a:ext uri="{FF2B5EF4-FFF2-40B4-BE49-F238E27FC236}">
                <a16:creationId xmlns:a16="http://schemas.microsoft.com/office/drawing/2014/main" id="{6B81F888-CE48-41B2-8824-B0E6195711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1" y="1"/>
            <a:ext cx="12192001" cy="6857999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59DE06BE-417D-494E-9A13-6C1B91D74B97}"/>
              </a:ext>
            </a:extLst>
          </p:cNvPr>
          <p:cNvSpPr/>
          <p:nvPr userDrawn="1"/>
        </p:nvSpPr>
        <p:spPr>
          <a:xfrm>
            <a:off x="0" y="1028700"/>
            <a:ext cx="5664200" cy="33274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lvl="0" algn="ctr">
              <a:spcBef>
                <a:spcPts val="600"/>
              </a:spcBef>
            </a:pPr>
            <a:endParaRPr lang="de-DE" sz="1200" dirty="0"/>
          </a:p>
        </p:txBody>
      </p:sp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EB9F4EB-3A53-4DAF-8FB9-F137AE1265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e-DE" sz="6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40D2C1A-6194-4F95-86DE-3A39D4887D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07998" y="1566387"/>
            <a:ext cx="5065702" cy="1107996"/>
          </a:xfrm>
          <a:noFill/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100000"/>
              </a:lnSpc>
              <a:spcBef>
                <a:spcPts val="0"/>
              </a:spcBef>
              <a:defRPr sz="2400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ZWEIZEILIG</a:t>
            </a:r>
            <a:br>
              <a:rPr lang="de-DE" dirty="0"/>
            </a:br>
            <a:r>
              <a:rPr lang="de-DE" dirty="0"/>
              <a:t>DREIZEILIG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B48CC630-AC33-41EA-A00B-2438A78010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98" y="2932988"/>
            <a:ext cx="5065702" cy="276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rtl="0">
              <a:buNone/>
              <a:defRPr lang="de-DE" sz="1800" b="0" baseline="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17" name="Textplatzhalter 37">
            <a:extLst>
              <a:ext uri="{FF2B5EF4-FFF2-40B4-BE49-F238E27FC236}">
                <a16:creationId xmlns:a16="http://schemas.microsoft.com/office/drawing/2014/main" id="{26E5F670-584B-47D6-A5E5-BD2718008B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98" y="3869614"/>
            <a:ext cx="5065702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200" b="0" kern="1200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Datum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D50C69DC-666F-4405-8B98-91472D060F5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98" y="5740400"/>
            <a:ext cx="3637406" cy="77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6459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3DBDCD-575F-427F-8844-0C51A786A2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3280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13DBDCD-575F-427F-8844-0C51A786A2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 descr="Ein Bild, das Handkarren, Transport enthält.&#10;&#10;Automatisch generierte Beschreibung">
            <a:extLst>
              <a:ext uri="{FF2B5EF4-FFF2-40B4-BE49-F238E27FC236}">
                <a16:creationId xmlns:a16="http://schemas.microsoft.com/office/drawing/2014/main" id="{8CBF2885-DB55-4E30-B3EF-6F256362A5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2621EE8-6953-4497-A70D-9B7B1952DF6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Layout-Schutz" hidden="1">
            <a:extLst>
              <a:ext uri="{FF2B5EF4-FFF2-40B4-BE49-F238E27FC236}">
                <a16:creationId xmlns:a16="http://schemas.microsoft.com/office/drawing/2014/main" id="{68D74F79-6B91-465E-81A6-764A037F3D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52873" y="1494072"/>
            <a:ext cx="11286254" cy="46532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 rtl="0">
              <a:spcBef>
                <a:spcPts val="600"/>
              </a:spcBef>
            </a:pPr>
            <a:endParaRPr lang="de-DE" sz="1200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6DF6AF8-EC22-4FFC-A4C2-C9C07318AD95}"/>
              </a:ext>
            </a:extLst>
          </p:cNvPr>
          <p:cNvSpPr/>
          <p:nvPr userDrawn="1"/>
        </p:nvSpPr>
        <p:spPr>
          <a:xfrm>
            <a:off x="6836230" y="-1"/>
            <a:ext cx="5355770" cy="6858001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lvl="0" algn="ctr">
              <a:spcBef>
                <a:spcPts val="600"/>
              </a:spcBef>
            </a:pPr>
            <a:endParaRPr lang="de-DE" sz="1200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CA6752FF-9D9A-4FF5-815E-0F065BCF27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271657" y="884481"/>
            <a:ext cx="4499428" cy="1292662"/>
          </a:xfr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2800" b="0" baseline="0" dirty="0">
                <a:solidFill>
                  <a:schemeClr val="accent2"/>
                </a:solidFill>
              </a:defRPr>
            </a:lvl1pPr>
          </a:lstStyle>
          <a:p>
            <a:pPr marL="0" lvl="0"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</a:t>
            </a:r>
            <a:br>
              <a:rPr lang="de-DE" dirty="0"/>
            </a:br>
            <a:r>
              <a:rPr lang="de-DE" dirty="0"/>
              <a:t>AUFMERKSAMKEIT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DA5DFA86-C747-4B56-AD96-AD36728173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71657" y="2771548"/>
            <a:ext cx="4499428" cy="1107996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Bormann &amp; Gordon</a:t>
            </a:r>
            <a:br>
              <a:rPr lang="de-DE" dirty="0"/>
            </a:br>
            <a:r>
              <a:rPr lang="de-DE" dirty="0"/>
              <a:t>Unternehmensberatung GmbH</a:t>
            </a:r>
            <a:br>
              <a:rPr lang="de-DE" dirty="0"/>
            </a:br>
            <a:r>
              <a:rPr lang="de-DE" dirty="0"/>
              <a:t>Kaiser-Friedrich-Promenade 30</a:t>
            </a:r>
            <a:br>
              <a:rPr lang="de-DE" dirty="0"/>
            </a:br>
            <a:r>
              <a:rPr lang="de-DE" dirty="0"/>
              <a:t>D-61348 Bad Homburg</a:t>
            </a:r>
          </a:p>
        </p:txBody>
      </p:sp>
      <p:sp>
        <p:nvSpPr>
          <p:cNvPr id="46" name="Textplatzhalter 44">
            <a:extLst>
              <a:ext uri="{FF2B5EF4-FFF2-40B4-BE49-F238E27FC236}">
                <a16:creationId xmlns:a16="http://schemas.microsoft.com/office/drawing/2014/main" id="{6FA8F0A5-136A-41F5-94E7-B5B3D33ED9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8343" y="4191621"/>
            <a:ext cx="3802741" cy="815608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KONTAKT: </a:t>
            </a:r>
          </a:p>
          <a:p>
            <a:pPr lvl="0"/>
            <a:r>
              <a:rPr lang="de-DE" dirty="0"/>
              <a:t>Reiner Graul</a:t>
            </a:r>
            <a:br>
              <a:rPr lang="de-DE" dirty="0"/>
            </a:br>
            <a:r>
              <a:rPr lang="de-DE" dirty="0"/>
              <a:t>Managing Partner</a:t>
            </a:r>
          </a:p>
        </p:txBody>
      </p:sp>
      <p:sp>
        <p:nvSpPr>
          <p:cNvPr id="47" name="Textplatzhalter 44">
            <a:extLst>
              <a:ext uri="{FF2B5EF4-FFF2-40B4-BE49-F238E27FC236}">
                <a16:creationId xmlns:a16="http://schemas.microsoft.com/office/drawing/2014/main" id="{2FD773D7-0938-400F-BA25-0EF8B5437B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68343" y="5319306"/>
            <a:ext cx="3802741" cy="246221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+49(0)61 72-18 96-61 </a:t>
            </a:r>
          </a:p>
        </p:txBody>
      </p:sp>
      <p:sp>
        <p:nvSpPr>
          <p:cNvPr id="48" name="Textplatzhalter 44">
            <a:extLst>
              <a:ext uri="{FF2B5EF4-FFF2-40B4-BE49-F238E27FC236}">
                <a16:creationId xmlns:a16="http://schemas.microsoft.com/office/drawing/2014/main" id="{20B7B94F-BE36-4373-8ABD-D47E2DDA32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68343" y="5877605"/>
            <a:ext cx="3802741" cy="246221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r.graul@bormann-gordon.de</a:t>
            </a:r>
          </a:p>
        </p:txBody>
      </p:sp>
      <p:grpSp>
        <p:nvGrpSpPr>
          <p:cNvPr id="56" name="Grafik 49">
            <a:extLst>
              <a:ext uri="{FF2B5EF4-FFF2-40B4-BE49-F238E27FC236}">
                <a16:creationId xmlns:a16="http://schemas.microsoft.com/office/drawing/2014/main" id="{B1BFBB7C-D5B8-4DF3-970B-EE967D913E39}"/>
              </a:ext>
            </a:extLst>
          </p:cNvPr>
          <p:cNvGrpSpPr/>
          <p:nvPr/>
        </p:nvGrpSpPr>
        <p:grpSpPr>
          <a:xfrm>
            <a:off x="7273562" y="4191621"/>
            <a:ext cx="417195" cy="447675"/>
            <a:chOff x="7310755" y="4116214"/>
            <a:chExt cx="417195" cy="447675"/>
          </a:xfrm>
          <a:noFill/>
        </p:grpSpPr>
        <p:sp>
          <p:nvSpPr>
            <p:cNvPr id="57" name="Grafik 49">
              <a:extLst>
                <a:ext uri="{FF2B5EF4-FFF2-40B4-BE49-F238E27FC236}">
                  <a16:creationId xmlns:a16="http://schemas.microsoft.com/office/drawing/2014/main" id="{AF908BCA-DB8E-4807-9349-8901DC2C7DB7}"/>
                </a:ext>
              </a:extLst>
            </p:cNvPr>
            <p:cNvSpPr/>
            <p:nvPr/>
          </p:nvSpPr>
          <p:spPr>
            <a:xfrm>
              <a:off x="7426814" y="4116214"/>
              <a:ext cx="183523" cy="241935"/>
            </a:xfrm>
            <a:custGeom>
              <a:avLst/>
              <a:gdLst>
                <a:gd name="connsiteX0" fmla="*/ 91586 w 183523"/>
                <a:gd name="connsiteY0" fmla="*/ 0 h 241935"/>
                <a:gd name="connsiteX1" fmla="*/ 2051 w 183523"/>
                <a:gd name="connsiteY1" fmla="*/ 120968 h 241935"/>
                <a:gd name="connsiteX2" fmla="*/ 91586 w 183523"/>
                <a:gd name="connsiteY2" fmla="*/ 241935 h 241935"/>
                <a:gd name="connsiteX3" fmla="*/ 181121 w 183523"/>
                <a:gd name="connsiteY3" fmla="*/ 120968 h 241935"/>
                <a:gd name="connsiteX4" fmla="*/ 91586 w 183523"/>
                <a:gd name="connsiteY4" fmla="*/ 0 h 241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523" h="241935">
                  <a:moveTo>
                    <a:pt x="91586" y="0"/>
                  </a:moveTo>
                  <a:cubicBezTo>
                    <a:pt x="146" y="0"/>
                    <a:pt x="-4616" y="55245"/>
                    <a:pt x="2051" y="120968"/>
                  </a:cubicBezTo>
                  <a:cubicBezTo>
                    <a:pt x="8719" y="187643"/>
                    <a:pt x="50629" y="241935"/>
                    <a:pt x="91586" y="241935"/>
                  </a:cubicBezTo>
                  <a:cubicBezTo>
                    <a:pt x="132544" y="241935"/>
                    <a:pt x="174454" y="186690"/>
                    <a:pt x="181121" y="120968"/>
                  </a:cubicBezTo>
                  <a:cubicBezTo>
                    <a:pt x="188741" y="54293"/>
                    <a:pt x="183026" y="0"/>
                    <a:pt x="91586" y="0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Grafik 49">
              <a:extLst>
                <a:ext uri="{FF2B5EF4-FFF2-40B4-BE49-F238E27FC236}">
                  <a16:creationId xmlns:a16="http://schemas.microsoft.com/office/drawing/2014/main" id="{888C7917-6824-40E3-9E99-CF70A40FC302}"/>
                </a:ext>
              </a:extLst>
            </p:cNvPr>
            <p:cNvSpPr/>
            <p:nvPr/>
          </p:nvSpPr>
          <p:spPr>
            <a:xfrm>
              <a:off x="7466965" y="4169554"/>
              <a:ext cx="79057" cy="45720"/>
            </a:xfrm>
            <a:custGeom>
              <a:avLst/>
              <a:gdLst>
                <a:gd name="connsiteX0" fmla="*/ 79057 w 79057"/>
                <a:gd name="connsiteY0" fmla="*/ 0 h 45720"/>
                <a:gd name="connsiteX1" fmla="*/ 0 w 79057"/>
                <a:gd name="connsiteY1" fmla="*/ 45720 h 4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9057" h="45720">
                  <a:moveTo>
                    <a:pt x="79057" y="0"/>
                  </a:moveTo>
                  <a:cubicBezTo>
                    <a:pt x="79057" y="0"/>
                    <a:pt x="68580" y="45720"/>
                    <a:pt x="0" y="45720"/>
                  </a:cubicBez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Grafik 49">
              <a:extLst>
                <a:ext uri="{FF2B5EF4-FFF2-40B4-BE49-F238E27FC236}">
                  <a16:creationId xmlns:a16="http://schemas.microsoft.com/office/drawing/2014/main" id="{1136879D-BA5E-4531-BE76-E36AC02DD367}"/>
                </a:ext>
              </a:extLst>
            </p:cNvPr>
            <p:cNvSpPr/>
            <p:nvPr/>
          </p:nvSpPr>
          <p:spPr>
            <a:xfrm>
              <a:off x="7536509" y="4187088"/>
              <a:ext cx="72378" cy="32948"/>
            </a:xfrm>
            <a:custGeom>
              <a:avLst/>
              <a:gdLst>
                <a:gd name="connsiteX0" fmla="*/ 941 w 72378"/>
                <a:gd name="connsiteY0" fmla="*/ 564 h 32948"/>
                <a:gd name="connsiteX1" fmla="*/ 72378 w 72378"/>
                <a:gd name="connsiteY1" fmla="*/ 32949 h 32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378" h="32948">
                  <a:moveTo>
                    <a:pt x="941" y="564"/>
                  </a:moveTo>
                  <a:cubicBezTo>
                    <a:pt x="-6679" y="-4199"/>
                    <a:pt x="33326" y="22471"/>
                    <a:pt x="72378" y="32949"/>
                  </a:cubicBez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0" name="Grafik 49">
              <a:extLst>
                <a:ext uri="{FF2B5EF4-FFF2-40B4-BE49-F238E27FC236}">
                  <a16:creationId xmlns:a16="http://schemas.microsoft.com/office/drawing/2014/main" id="{84E8B9A8-B1AE-441E-99F4-DDDEE5584F72}"/>
                </a:ext>
              </a:extLst>
            </p:cNvPr>
            <p:cNvGrpSpPr/>
            <p:nvPr/>
          </p:nvGrpSpPr>
          <p:grpSpPr>
            <a:xfrm>
              <a:off x="7491730" y="4461972"/>
              <a:ext cx="54292" cy="101917"/>
              <a:chOff x="7491730" y="4461972"/>
              <a:chExt cx="54292" cy="101917"/>
            </a:xfrm>
          </p:grpSpPr>
          <p:sp>
            <p:nvSpPr>
              <p:cNvPr id="61" name="Grafik 49">
                <a:extLst>
                  <a:ext uri="{FF2B5EF4-FFF2-40B4-BE49-F238E27FC236}">
                    <a16:creationId xmlns:a16="http://schemas.microsoft.com/office/drawing/2014/main" id="{7207C4C9-0615-4C4D-88E7-F5B4C49F9E05}"/>
                  </a:ext>
                </a:extLst>
              </p:cNvPr>
              <p:cNvSpPr/>
              <p:nvPr/>
            </p:nvSpPr>
            <p:spPr>
              <a:xfrm>
                <a:off x="7491730" y="4461972"/>
                <a:ext cx="13335" cy="101917"/>
              </a:xfrm>
              <a:custGeom>
                <a:avLst/>
                <a:gdLst>
                  <a:gd name="connsiteX0" fmla="*/ 13335 w 13335"/>
                  <a:gd name="connsiteY0" fmla="*/ 0 h 101917"/>
                  <a:gd name="connsiteX1" fmla="*/ 0 w 13335"/>
                  <a:gd name="connsiteY1" fmla="*/ 101918 h 101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35" h="101917">
                    <a:moveTo>
                      <a:pt x="13335" y="0"/>
                    </a:moveTo>
                    <a:lnTo>
                      <a:pt x="0" y="101918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Grafik 49">
                <a:extLst>
                  <a:ext uri="{FF2B5EF4-FFF2-40B4-BE49-F238E27FC236}">
                    <a16:creationId xmlns:a16="http://schemas.microsoft.com/office/drawing/2014/main" id="{288EEBDB-B86A-4019-A666-F3C6B4F075CE}"/>
                  </a:ext>
                </a:extLst>
              </p:cNvPr>
              <p:cNvSpPr/>
              <p:nvPr/>
            </p:nvSpPr>
            <p:spPr>
              <a:xfrm>
                <a:off x="7532688" y="4462924"/>
                <a:ext cx="13334" cy="100965"/>
              </a:xfrm>
              <a:custGeom>
                <a:avLst/>
                <a:gdLst>
                  <a:gd name="connsiteX0" fmla="*/ 0 w 13334"/>
                  <a:gd name="connsiteY0" fmla="*/ 0 h 100965"/>
                  <a:gd name="connsiteX1" fmla="*/ 13335 w 13334"/>
                  <a:gd name="connsiteY1" fmla="*/ 100965 h 10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34" h="100965">
                    <a:moveTo>
                      <a:pt x="0" y="0"/>
                    </a:moveTo>
                    <a:lnTo>
                      <a:pt x="13335" y="100965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3" name="Grafik 49">
              <a:extLst>
                <a:ext uri="{FF2B5EF4-FFF2-40B4-BE49-F238E27FC236}">
                  <a16:creationId xmlns:a16="http://schemas.microsoft.com/office/drawing/2014/main" id="{A25D6455-F2A0-42A4-9CFA-EE7D2F63B5FF}"/>
                </a:ext>
              </a:extLst>
            </p:cNvPr>
            <p:cNvGrpSpPr/>
            <p:nvPr/>
          </p:nvGrpSpPr>
          <p:grpSpPr>
            <a:xfrm>
              <a:off x="7310755" y="4381009"/>
              <a:ext cx="417195" cy="182880"/>
              <a:chOff x="7310755" y="4381009"/>
              <a:chExt cx="417195" cy="182880"/>
            </a:xfrm>
            <a:noFill/>
          </p:grpSpPr>
          <p:sp>
            <p:nvSpPr>
              <p:cNvPr id="64" name="Grafik 49">
                <a:extLst>
                  <a:ext uri="{FF2B5EF4-FFF2-40B4-BE49-F238E27FC236}">
                    <a16:creationId xmlns:a16="http://schemas.microsoft.com/office/drawing/2014/main" id="{5D627EAE-04BB-4909-BE0A-33EF0EA9EF47}"/>
                  </a:ext>
                </a:extLst>
              </p:cNvPr>
              <p:cNvSpPr/>
              <p:nvPr/>
            </p:nvSpPr>
            <p:spPr>
              <a:xfrm>
                <a:off x="7310755" y="4381009"/>
                <a:ext cx="160972" cy="182880"/>
              </a:xfrm>
              <a:custGeom>
                <a:avLst/>
                <a:gdLst>
                  <a:gd name="connsiteX0" fmla="*/ 0 w 160972"/>
                  <a:gd name="connsiteY0" fmla="*/ 182880 h 182880"/>
                  <a:gd name="connsiteX1" fmla="*/ 7620 w 160972"/>
                  <a:gd name="connsiteY1" fmla="*/ 80010 h 182880"/>
                  <a:gd name="connsiteX2" fmla="*/ 49530 w 160972"/>
                  <a:gd name="connsiteY2" fmla="*/ 17145 h 182880"/>
                  <a:gd name="connsiteX3" fmla="*/ 126683 w 160972"/>
                  <a:gd name="connsiteY3" fmla="*/ 0 h 182880"/>
                  <a:gd name="connsiteX4" fmla="*/ 160973 w 160972"/>
                  <a:gd name="connsiteY4" fmla="*/ 70485 h 182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972" h="182880">
                    <a:moveTo>
                      <a:pt x="0" y="182880"/>
                    </a:moveTo>
                    <a:lnTo>
                      <a:pt x="7620" y="80010"/>
                    </a:lnTo>
                    <a:cubicBezTo>
                      <a:pt x="15240" y="22860"/>
                      <a:pt x="49530" y="17145"/>
                      <a:pt x="49530" y="17145"/>
                    </a:cubicBezTo>
                    <a:cubicBezTo>
                      <a:pt x="49530" y="17145"/>
                      <a:pt x="86678" y="5715"/>
                      <a:pt x="126683" y="0"/>
                    </a:cubicBezTo>
                    <a:lnTo>
                      <a:pt x="160973" y="70485"/>
                    </a:lnTo>
                  </a:path>
                </a:pathLst>
              </a:custGeom>
              <a:noFill/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Grafik 49">
                <a:extLst>
                  <a:ext uri="{FF2B5EF4-FFF2-40B4-BE49-F238E27FC236}">
                    <a16:creationId xmlns:a16="http://schemas.microsoft.com/office/drawing/2014/main" id="{7AB14F0C-BF1C-47EA-B1EE-B8AFF4DD5EA2}"/>
                  </a:ext>
                </a:extLst>
              </p:cNvPr>
              <p:cNvSpPr/>
              <p:nvPr/>
            </p:nvSpPr>
            <p:spPr>
              <a:xfrm>
                <a:off x="7566025" y="4381009"/>
                <a:ext cx="161925" cy="182880"/>
              </a:xfrm>
              <a:custGeom>
                <a:avLst/>
                <a:gdLst>
                  <a:gd name="connsiteX0" fmla="*/ 161925 w 161925"/>
                  <a:gd name="connsiteY0" fmla="*/ 182880 h 182880"/>
                  <a:gd name="connsiteX1" fmla="*/ 153352 w 161925"/>
                  <a:gd name="connsiteY1" fmla="*/ 80010 h 182880"/>
                  <a:gd name="connsiteX2" fmla="*/ 111443 w 161925"/>
                  <a:gd name="connsiteY2" fmla="*/ 17145 h 182880"/>
                  <a:gd name="connsiteX3" fmla="*/ 34290 w 161925"/>
                  <a:gd name="connsiteY3" fmla="*/ 0 h 182880"/>
                  <a:gd name="connsiteX4" fmla="*/ 0 w 161925"/>
                  <a:gd name="connsiteY4" fmla="*/ 70485 h 182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925" h="182880">
                    <a:moveTo>
                      <a:pt x="161925" y="182880"/>
                    </a:moveTo>
                    <a:lnTo>
                      <a:pt x="153352" y="80010"/>
                    </a:lnTo>
                    <a:cubicBezTo>
                      <a:pt x="145733" y="22860"/>
                      <a:pt x="111443" y="17145"/>
                      <a:pt x="111443" y="17145"/>
                    </a:cubicBezTo>
                    <a:cubicBezTo>
                      <a:pt x="111443" y="17145"/>
                      <a:pt x="74295" y="5715"/>
                      <a:pt x="34290" y="0"/>
                    </a:cubicBezTo>
                    <a:lnTo>
                      <a:pt x="0" y="70485"/>
                    </a:lnTo>
                  </a:path>
                </a:pathLst>
              </a:custGeom>
              <a:noFill/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6" name="Grafik 49">
              <a:extLst>
                <a:ext uri="{FF2B5EF4-FFF2-40B4-BE49-F238E27FC236}">
                  <a16:creationId xmlns:a16="http://schemas.microsoft.com/office/drawing/2014/main" id="{42531C97-19C5-4CA7-83CE-700B525C28F0}"/>
                </a:ext>
              </a:extLst>
            </p:cNvPr>
            <p:cNvSpPr/>
            <p:nvPr/>
          </p:nvSpPr>
          <p:spPr>
            <a:xfrm>
              <a:off x="7483157" y="4396249"/>
              <a:ext cx="71437" cy="81915"/>
            </a:xfrm>
            <a:custGeom>
              <a:avLst/>
              <a:gdLst>
                <a:gd name="connsiteX0" fmla="*/ 36195 w 71437"/>
                <a:gd name="connsiteY0" fmla="*/ 81915 h 81915"/>
                <a:gd name="connsiteX1" fmla="*/ 0 w 71437"/>
                <a:gd name="connsiteY1" fmla="*/ 40958 h 81915"/>
                <a:gd name="connsiteX2" fmla="*/ 35243 w 71437"/>
                <a:gd name="connsiteY2" fmla="*/ 0 h 81915"/>
                <a:gd name="connsiteX3" fmla="*/ 36195 w 71437"/>
                <a:gd name="connsiteY3" fmla="*/ 0 h 81915"/>
                <a:gd name="connsiteX4" fmla="*/ 71438 w 71437"/>
                <a:gd name="connsiteY4" fmla="*/ 40958 h 81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37" h="81915">
                  <a:moveTo>
                    <a:pt x="36195" y="81915"/>
                  </a:moveTo>
                  <a:lnTo>
                    <a:pt x="0" y="40958"/>
                  </a:lnTo>
                  <a:lnTo>
                    <a:pt x="35243" y="0"/>
                  </a:lnTo>
                  <a:lnTo>
                    <a:pt x="36195" y="0"/>
                  </a:lnTo>
                  <a:lnTo>
                    <a:pt x="71438" y="40958"/>
                  </a:ln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7" name="Grafik 52">
            <a:extLst>
              <a:ext uri="{FF2B5EF4-FFF2-40B4-BE49-F238E27FC236}">
                <a16:creationId xmlns:a16="http://schemas.microsoft.com/office/drawing/2014/main" id="{2BF7A987-220D-427D-8A38-0C59A30268A3}"/>
              </a:ext>
            </a:extLst>
          </p:cNvPr>
          <p:cNvGrpSpPr/>
          <p:nvPr/>
        </p:nvGrpSpPr>
        <p:grpSpPr>
          <a:xfrm>
            <a:off x="7272083" y="5230757"/>
            <a:ext cx="420153" cy="423319"/>
            <a:chOff x="7305876" y="5233615"/>
            <a:chExt cx="420153" cy="423319"/>
          </a:xfrm>
          <a:noFill/>
        </p:grpSpPr>
        <p:sp>
          <p:nvSpPr>
            <p:cNvPr id="68" name="Grafik 52">
              <a:extLst>
                <a:ext uri="{FF2B5EF4-FFF2-40B4-BE49-F238E27FC236}">
                  <a16:creationId xmlns:a16="http://schemas.microsoft.com/office/drawing/2014/main" id="{3D48BF99-3E6C-4C3A-BE79-0E67F8245505}"/>
                </a:ext>
              </a:extLst>
            </p:cNvPr>
            <p:cNvSpPr/>
            <p:nvPr/>
          </p:nvSpPr>
          <p:spPr>
            <a:xfrm>
              <a:off x="7538402" y="5255032"/>
              <a:ext cx="160020" cy="156209"/>
            </a:xfrm>
            <a:custGeom>
              <a:avLst/>
              <a:gdLst>
                <a:gd name="connsiteX0" fmla="*/ 160020 w 160020"/>
                <a:gd name="connsiteY0" fmla="*/ 156210 h 156209"/>
                <a:gd name="connsiteX1" fmla="*/ 160020 w 160020"/>
                <a:gd name="connsiteY1" fmla="*/ 152400 h 156209"/>
                <a:gd name="connsiteX2" fmla="*/ 8572 w 160020"/>
                <a:gd name="connsiteY2" fmla="*/ 0 h 156209"/>
                <a:gd name="connsiteX3" fmla="*/ 0 w 160020"/>
                <a:gd name="connsiteY3" fmla="*/ 0 h 15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020" h="156209">
                  <a:moveTo>
                    <a:pt x="160020" y="156210"/>
                  </a:moveTo>
                  <a:cubicBezTo>
                    <a:pt x="160020" y="155258"/>
                    <a:pt x="160020" y="153353"/>
                    <a:pt x="160020" y="152400"/>
                  </a:cubicBezTo>
                  <a:cubicBezTo>
                    <a:pt x="160020" y="67628"/>
                    <a:pt x="92392" y="0"/>
                    <a:pt x="8572" y="0"/>
                  </a:cubicBezTo>
                  <a:cubicBezTo>
                    <a:pt x="5715" y="0"/>
                    <a:pt x="2857" y="0"/>
                    <a:pt x="0" y="0"/>
                  </a:cubicBez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Grafik 52">
              <a:extLst>
                <a:ext uri="{FF2B5EF4-FFF2-40B4-BE49-F238E27FC236}">
                  <a16:creationId xmlns:a16="http://schemas.microsoft.com/office/drawing/2014/main" id="{EEE1AE25-0CF3-4C94-AB0A-D9050E16B511}"/>
                </a:ext>
              </a:extLst>
            </p:cNvPr>
            <p:cNvSpPr/>
            <p:nvPr/>
          </p:nvSpPr>
          <p:spPr>
            <a:xfrm>
              <a:off x="7538402" y="5315992"/>
              <a:ext cx="100012" cy="95249"/>
            </a:xfrm>
            <a:custGeom>
              <a:avLst/>
              <a:gdLst>
                <a:gd name="connsiteX0" fmla="*/ 100012 w 100012"/>
                <a:gd name="connsiteY0" fmla="*/ 95250 h 95249"/>
                <a:gd name="connsiteX1" fmla="*/ 100012 w 100012"/>
                <a:gd name="connsiteY1" fmla="*/ 91440 h 95249"/>
                <a:gd name="connsiteX2" fmla="*/ 8572 w 100012"/>
                <a:gd name="connsiteY2" fmla="*/ 0 h 95249"/>
                <a:gd name="connsiteX3" fmla="*/ 0 w 100012"/>
                <a:gd name="connsiteY3" fmla="*/ 0 h 9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12" h="95249">
                  <a:moveTo>
                    <a:pt x="100012" y="95250"/>
                  </a:moveTo>
                  <a:cubicBezTo>
                    <a:pt x="100012" y="94298"/>
                    <a:pt x="100012" y="92393"/>
                    <a:pt x="100012" y="91440"/>
                  </a:cubicBezTo>
                  <a:cubicBezTo>
                    <a:pt x="100012" y="40958"/>
                    <a:pt x="59055" y="0"/>
                    <a:pt x="8572" y="0"/>
                  </a:cubicBezTo>
                  <a:cubicBezTo>
                    <a:pt x="5715" y="0"/>
                    <a:pt x="2857" y="0"/>
                    <a:pt x="0" y="0"/>
                  </a:cubicBez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Grafik 52">
              <a:extLst>
                <a:ext uri="{FF2B5EF4-FFF2-40B4-BE49-F238E27FC236}">
                  <a16:creationId xmlns:a16="http://schemas.microsoft.com/office/drawing/2014/main" id="{002359E6-FCD4-4210-8DB0-D3583671B738}"/>
                </a:ext>
              </a:extLst>
            </p:cNvPr>
            <p:cNvSpPr/>
            <p:nvPr/>
          </p:nvSpPr>
          <p:spPr>
            <a:xfrm>
              <a:off x="7305876" y="5233615"/>
              <a:ext cx="420153" cy="423319"/>
            </a:xfrm>
            <a:custGeom>
              <a:avLst/>
              <a:gdLst>
                <a:gd name="connsiteX0" fmla="*/ 343968 w 420153"/>
                <a:gd name="connsiteY0" fmla="*/ 422419 h 423319"/>
                <a:gd name="connsiteX1" fmla="*/ 130608 w 420153"/>
                <a:gd name="connsiteY1" fmla="*/ 293832 h 423319"/>
                <a:gd name="connsiteX2" fmla="*/ 1068 w 420153"/>
                <a:gd name="connsiteY2" fmla="*/ 76662 h 423319"/>
                <a:gd name="connsiteX3" fmla="*/ 17261 w 420153"/>
                <a:gd name="connsiteY3" fmla="*/ 42372 h 423319"/>
                <a:gd name="connsiteX4" fmla="*/ 74411 w 420153"/>
                <a:gd name="connsiteY4" fmla="*/ 1414 h 423319"/>
                <a:gd name="connsiteX5" fmla="*/ 105843 w 420153"/>
                <a:gd name="connsiteY5" fmla="*/ 13797 h 423319"/>
                <a:gd name="connsiteX6" fmla="*/ 156326 w 420153"/>
                <a:gd name="connsiteY6" fmla="*/ 92854 h 423319"/>
                <a:gd name="connsiteX7" fmla="*/ 154421 w 420153"/>
                <a:gd name="connsiteY7" fmla="*/ 131907 h 423319"/>
                <a:gd name="connsiteX8" fmla="*/ 134418 w 420153"/>
                <a:gd name="connsiteY8" fmla="*/ 165244 h 423319"/>
                <a:gd name="connsiteX9" fmla="*/ 193473 w 420153"/>
                <a:gd name="connsiteY9" fmla="*/ 230967 h 423319"/>
                <a:gd name="connsiteX10" fmla="*/ 257291 w 420153"/>
                <a:gd name="connsiteY10" fmla="*/ 289069 h 423319"/>
                <a:gd name="connsiteX11" fmla="*/ 292533 w 420153"/>
                <a:gd name="connsiteY11" fmla="*/ 270019 h 423319"/>
                <a:gd name="connsiteX12" fmla="*/ 329681 w 420153"/>
                <a:gd name="connsiteY12" fmla="*/ 267162 h 423319"/>
                <a:gd name="connsiteX13" fmla="*/ 409691 w 420153"/>
                <a:gd name="connsiteY13" fmla="*/ 320502 h 423319"/>
                <a:gd name="connsiteX14" fmla="*/ 419216 w 420153"/>
                <a:gd name="connsiteY14" fmla="*/ 350029 h 423319"/>
                <a:gd name="connsiteX15" fmla="*/ 377306 w 420153"/>
                <a:gd name="connsiteY15" fmla="*/ 407179 h 423319"/>
                <a:gd name="connsiteX16" fmla="*/ 343968 w 420153"/>
                <a:gd name="connsiteY16" fmla="*/ 422419 h 42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20153" h="423319">
                  <a:moveTo>
                    <a:pt x="343968" y="422419"/>
                  </a:moveTo>
                  <a:cubicBezTo>
                    <a:pt x="327776" y="422419"/>
                    <a:pt x="278246" y="442422"/>
                    <a:pt x="130608" y="293832"/>
                  </a:cubicBezTo>
                  <a:cubicBezTo>
                    <a:pt x="-17029" y="145242"/>
                    <a:pt x="116" y="89044"/>
                    <a:pt x="1068" y="76662"/>
                  </a:cubicBezTo>
                  <a:cubicBezTo>
                    <a:pt x="2021" y="64279"/>
                    <a:pt x="10593" y="51897"/>
                    <a:pt x="17261" y="42372"/>
                  </a:cubicBezTo>
                  <a:cubicBezTo>
                    <a:pt x="23928" y="32847"/>
                    <a:pt x="62981" y="5224"/>
                    <a:pt x="74411" y="1414"/>
                  </a:cubicBezTo>
                  <a:cubicBezTo>
                    <a:pt x="85841" y="-2396"/>
                    <a:pt x="96318" y="1414"/>
                    <a:pt x="105843" y="13797"/>
                  </a:cubicBezTo>
                  <a:cubicBezTo>
                    <a:pt x="115368" y="26179"/>
                    <a:pt x="145848" y="76662"/>
                    <a:pt x="156326" y="92854"/>
                  </a:cubicBezTo>
                  <a:cubicBezTo>
                    <a:pt x="166803" y="109047"/>
                    <a:pt x="154421" y="131907"/>
                    <a:pt x="154421" y="131907"/>
                  </a:cubicBezTo>
                  <a:lnTo>
                    <a:pt x="134418" y="165244"/>
                  </a:lnTo>
                  <a:cubicBezTo>
                    <a:pt x="134418" y="165244"/>
                    <a:pt x="169661" y="207154"/>
                    <a:pt x="193473" y="230967"/>
                  </a:cubicBezTo>
                  <a:cubicBezTo>
                    <a:pt x="217286" y="254779"/>
                    <a:pt x="257291" y="289069"/>
                    <a:pt x="257291" y="289069"/>
                  </a:cubicBezTo>
                  <a:lnTo>
                    <a:pt x="292533" y="270019"/>
                  </a:lnTo>
                  <a:cubicBezTo>
                    <a:pt x="292533" y="270019"/>
                    <a:pt x="315393" y="258589"/>
                    <a:pt x="329681" y="267162"/>
                  </a:cubicBezTo>
                  <a:cubicBezTo>
                    <a:pt x="343968" y="275734"/>
                    <a:pt x="401118" y="313834"/>
                    <a:pt x="409691" y="320502"/>
                  </a:cubicBezTo>
                  <a:cubicBezTo>
                    <a:pt x="418263" y="327169"/>
                    <a:pt x="422073" y="336694"/>
                    <a:pt x="419216" y="350029"/>
                  </a:cubicBezTo>
                  <a:cubicBezTo>
                    <a:pt x="416358" y="363364"/>
                    <a:pt x="383973" y="401464"/>
                    <a:pt x="377306" y="407179"/>
                  </a:cubicBezTo>
                  <a:cubicBezTo>
                    <a:pt x="369686" y="414799"/>
                    <a:pt x="352541" y="422419"/>
                    <a:pt x="343968" y="422419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1" name="Grafik 54">
            <a:extLst>
              <a:ext uri="{FF2B5EF4-FFF2-40B4-BE49-F238E27FC236}">
                <a16:creationId xmlns:a16="http://schemas.microsoft.com/office/drawing/2014/main" id="{C0403FB8-E24A-4FE8-B4AE-8A75B6DD515A}"/>
              </a:ext>
            </a:extLst>
          </p:cNvPr>
          <p:cNvGrpSpPr/>
          <p:nvPr/>
        </p:nvGrpSpPr>
        <p:grpSpPr>
          <a:xfrm>
            <a:off x="7271657" y="5844982"/>
            <a:ext cx="421005" cy="311467"/>
            <a:chOff x="7305992" y="5886314"/>
            <a:chExt cx="421005" cy="311467"/>
          </a:xfrm>
          <a:noFill/>
        </p:grpSpPr>
        <p:sp>
          <p:nvSpPr>
            <p:cNvPr id="72" name="Grafik 54">
              <a:extLst>
                <a:ext uri="{FF2B5EF4-FFF2-40B4-BE49-F238E27FC236}">
                  <a16:creationId xmlns:a16="http://schemas.microsoft.com/office/drawing/2014/main" id="{ABF49E1F-F29B-48AB-87AE-9CB5C36D78BC}"/>
                </a:ext>
              </a:extLst>
            </p:cNvPr>
            <p:cNvSpPr/>
            <p:nvPr/>
          </p:nvSpPr>
          <p:spPr>
            <a:xfrm>
              <a:off x="7305992" y="5886314"/>
              <a:ext cx="421005" cy="311467"/>
            </a:xfrm>
            <a:custGeom>
              <a:avLst/>
              <a:gdLst>
                <a:gd name="connsiteX0" fmla="*/ 0 w 421005"/>
                <a:gd name="connsiteY0" fmla="*/ 285750 h 311467"/>
                <a:gd name="connsiteX1" fmla="*/ 0 w 421005"/>
                <a:gd name="connsiteY1" fmla="*/ 25718 h 311467"/>
                <a:gd name="connsiteX2" fmla="*/ 25718 w 421005"/>
                <a:gd name="connsiteY2" fmla="*/ 0 h 311467"/>
                <a:gd name="connsiteX3" fmla="*/ 395288 w 421005"/>
                <a:gd name="connsiteY3" fmla="*/ 0 h 311467"/>
                <a:gd name="connsiteX4" fmla="*/ 421005 w 421005"/>
                <a:gd name="connsiteY4" fmla="*/ 25718 h 311467"/>
                <a:gd name="connsiteX5" fmla="*/ 421005 w 421005"/>
                <a:gd name="connsiteY5" fmla="*/ 285750 h 311467"/>
                <a:gd name="connsiteX6" fmla="*/ 395288 w 421005"/>
                <a:gd name="connsiteY6" fmla="*/ 311468 h 311467"/>
                <a:gd name="connsiteX7" fmla="*/ 25718 w 421005"/>
                <a:gd name="connsiteY7" fmla="*/ 311468 h 311467"/>
                <a:gd name="connsiteX8" fmla="*/ 0 w 421005"/>
                <a:gd name="connsiteY8" fmla="*/ 285750 h 311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1005" h="311467">
                  <a:moveTo>
                    <a:pt x="0" y="285750"/>
                  </a:moveTo>
                  <a:lnTo>
                    <a:pt x="0" y="25718"/>
                  </a:lnTo>
                  <a:cubicBezTo>
                    <a:pt x="0" y="11430"/>
                    <a:pt x="11430" y="0"/>
                    <a:pt x="25718" y="0"/>
                  </a:cubicBezTo>
                  <a:lnTo>
                    <a:pt x="395288" y="0"/>
                  </a:lnTo>
                  <a:cubicBezTo>
                    <a:pt x="409575" y="0"/>
                    <a:pt x="421005" y="11430"/>
                    <a:pt x="421005" y="25718"/>
                  </a:cubicBezTo>
                  <a:lnTo>
                    <a:pt x="421005" y="285750"/>
                  </a:lnTo>
                  <a:cubicBezTo>
                    <a:pt x="421005" y="300038"/>
                    <a:pt x="409575" y="311468"/>
                    <a:pt x="395288" y="311468"/>
                  </a:cubicBezTo>
                  <a:lnTo>
                    <a:pt x="25718" y="311468"/>
                  </a:lnTo>
                  <a:cubicBezTo>
                    <a:pt x="11430" y="311468"/>
                    <a:pt x="0" y="300038"/>
                    <a:pt x="0" y="285750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Grafik 54">
              <a:extLst>
                <a:ext uri="{FF2B5EF4-FFF2-40B4-BE49-F238E27FC236}">
                  <a16:creationId xmlns:a16="http://schemas.microsoft.com/office/drawing/2014/main" id="{C979A8F9-8134-453E-AD67-C8D487FC8C8B}"/>
                </a:ext>
              </a:extLst>
            </p:cNvPr>
            <p:cNvSpPr/>
            <p:nvPr/>
          </p:nvSpPr>
          <p:spPr>
            <a:xfrm>
              <a:off x="7310755" y="5893934"/>
              <a:ext cx="408622" cy="159067"/>
            </a:xfrm>
            <a:custGeom>
              <a:avLst/>
              <a:gdLst>
                <a:gd name="connsiteX0" fmla="*/ 0 w 408622"/>
                <a:gd name="connsiteY0" fmla="*/ 1905 h 159067"/>
                <a:gd name="connsiteX1" fmla="*/ 205740 w 408622"/>
                <a:gd name="connsiteY1" fmla="*/ 159068 h 159067"/>
                <a:gd name="connsiteX2" fmla="*/ 408623 w 408622"/>
                <a:gd name="connsiteY2" fmla="*/ 0 h 159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8622" h="159067">
                  <a:moveTo>
                    <a:pt x="0" y="1905"/>
                  </a:moveTo>
                  <a:lnTo>
                    <a:pt x="205740" y="159068"/>
                  </a:lnTo>
                  <a:lnTo>
                    <a:pt x="408623" y="0"/>
                  </a:ln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Grafik 54">
              <a:extLst>
                <a:ext uri="{FF2B5EF4-FFF2-40B4-BE49-F238E27FC236}">
                  <a16:creationId xmlns:a16="http://schemas.microsoft.com/office/drawing/2014/main" id="{38DFCC8E-F659-48D0-9664-0A5331888598}"/>
                </a:ext>
              </a:extLst>
            </p:cNvPr>
            <p:cNvSpPr/>
            <p:nvPr/>
          </p:nvSpPr>
          <p:spPr>
            <a:xfrm>
              <a:off x="7316470" y="6057764"/>
              <a:ext cx="110490" cy="132397"/>
            </a:xfrm>
            <a:custGeom>
              <a:avLst/>
              <a:gdLst>
                <a:gd name="connsiteX0" fmla="*/ 0 w 110490"/>
                <a:gd name="connsiteY0" fmla="*/ 132397 h 132397"/>
                <a:gd name="connsiteX1" fmla="*/ 110490 w 110490"/>
                <a:gd name="connsiteY1" fmla="*/ 0 h 13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490" h="132397">
                  <a:moveTo>
                    <a:pt x="0" y="132397"/>
                  </a:moveTo>
                  <a:lnTo>
                    <a:pt x="110490" y="0"/>
                  </a:lnTo>
                </a:path>
              </a:pathLst>
            </a:custGeom>
            <a:ln w="190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" name="Grafik 54">
              <a:extLst>
                <a:ext uri="{FF2B5EF4-FFF2-40B4-BE49-F238E27FC236}">
                  <a16:creationId xmlns:a16="http://schemas.microsoft.com/office/drawing/2014/main" id="{A689277F-2982-47C8-9ACA-C71773D2CF05}"/>
                </a:ext>
              </a:extLst>
            </p:cNvPr>
            <p:cNvSpPr/>
            <p:nvPr/>
          </p:nvSpPr>
          <p:spPr>
            <a:xfrm>
              <a:off x="7605077" y="6057764"/>
              <a:ext cx="111442" cy="132397"/>
            </a:xfrm>
            <a:custGeom>
              <a:avLst/>
              <a:gdLst>
                <a:gd name="connsiteX0" fmla="*/ 111442 w 111442"/>
                <a:gd name="connsiteY0" fmla="*/ 132397 h 132397"/>
                <a:gd name="connsiteX1" fmla="*/ 0 w 111442"/>
                <a:gd name="connsiteY1" fmla="*/ 0 h 13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442" h="132397">
                  <a:moveTo>
                    <a:pt x="111442" y="132397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7893345D-7AB9-4EB3-A9CF-DFDEA514A30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2270" y="262640"/>
            <a:ext cx="1251729" cy="266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0666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>
            <a:extLst>
              <a:ext uri="{FF2B5EF4-FFF2-40B4-BE49-F238E27FC236}">
                <a16:creationId xmlns:a16="http://schemas.microsoft.com/office/drawing/2014/main" id="{2B6E9AD7-963B-4461-817B-F1943CDCC0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611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2" name="Objekt 31" hidden="1">
                        <a:extLst>
                          <a:ext uri="{FF2B5EF4-FFF2-40B4-BE49-F238E27FC236}">
                            <a16:creationId xmlns:a16="http://schemas.microsoft.com/office/drawing/2014/main" id="{2B6E9AD7-963B-4461-817B-F1943CDCC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hteck 30" hidden="1">
            <a:extLst>
              <a:ext uri="{FF2B5EF4-FFF2-40B4-BE49-F238E27FC236}">
                <a16:creationId xmlns:a16="http://schemas.microsoft.com/office/drawing/2014/main" id="{9DCC9518-63FD-4A19-B70E-F97A100A616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Grafik 9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204CE2FF-61DB-4637-9F69-57E5E405E6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F4E4264-6E1D-4D7D-BB8A-EE70FE27EA4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2270" y="262640"/>
            <a:ext cx="1251729" cy="266595"/>
          </a:xfrm>
          <a:prstGeom prst="rect">
            <a:avLst/>
          </a:prstGeom>
        </p:spPr>
      </p:pic>
      <p:sp>
        <p:nvSpPr>
          <p:cNvPr id="18" name="Textplatzhalter 35">
            <a:extLst>
              <a:ext uri="{FF2B5EF4-FFF2-40B4-BE49-F238E27FC236}">
                <a16:creationId xmlns:a16="http://schemas.microsoft.com/office/drawing/2014/main" id="{951A82A9-8E09-4070-A76A-22A2B14F583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801100" y="3543300"/>
            <a:ext cx="2908300" cy="2908300"/>
          </a:xfrm>
          <a:prstGeom prst="ellipse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vert="horz" wrap="none" lIns="72000" tIns="72000" rIns="72000" bIns="72000" rtlCol="0" anchor="ctr">
            <a:noAutofit/>
          </a:bodyPr>
          <a:lstStyle>
            <a:lvl1pPr marL="0" indent="0" algn="ctr">
              <a:buNone/>
              <a:defRPr lang="de-DE" sz="2000" dirty="0">
                <a:solidFill>
                  <a:schemeClr val="bg1"/>
                </a:solidFill>
              </a:defRPr>
            </a:lvl1pPr>
          </a:lstStyle>
          <a:p>
            <a:pPr marL="0" lvl="0" algn="ctr">
              <a:spcAft>
                <a:spcPts val="300"/>
              </a:spcAft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</a:t>
            </a:r>
            <a:br>
              <a:rPr lang="de-DE" dirty="0"/>
            </a:br>
            <a:r>
              <a:rPr lang="de-DE" dirty="0"/>
              <a:t>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1375349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3 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3DBDCD-575F-427F-8844-0C51A786A2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7485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13DBDCD-575F-427F-8844-0C51A786A2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Grafik 60">
            <a:extLst>
              <a:ext uri="{FF2B5EF4-FFF2-40B4-BE49-F238E27FC236}">
                <a16:creationId xmlns:a16="http://schemas.microsoft.com/office/drawing/2014/main" id="{2FA7DEDE-9C06-4D2F-890B-16CDFA7DCB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" y="0"/>
            <a:ext cx="5189876" cy="6850316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2621EE8-6953-4497-A70D-9B7B1952DF6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Layout-Schutz" hidden="1">
            <a:extLst>
              <a:ext uri="{FF2B5EF4-FFF2-40B4-BE49-F238E27FC236}">
                <a16:creationId xmlns:a16="http://schemas.microsoft.com/office/drawing/2014/main" id="{68D74F79-6B91-465E-81A6-764A037F3D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52873" y="1494072"/>
            <a:ext cx="11286254" cy="46532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 rtl="0">
              <a:spcBef>
                <a:spcPts val="600"/>
              </a:spcBef>
            </a:pPr>
            <a:endParaRPr lang="de-DE" sz="120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ABDB4C4-63AB-4E33-B58F-038A84FDD0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670" y="262638"/>
            <a:ext cx="6178328" cy="332399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de-DE" dirty="0"/>
              <a:t>AGENDA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6DDC9E47-66A3-4E69-8D0B-5596D179202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2270" y="262640"/>
            <a:ext cx="1251729" cy="266595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25B9A3-B023-4684-8BD6-348A50F1E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6347813" y="6571519"/>
            <a:ext cx="3726461" cy="138499"/>
          </a:xfrm>
        </p:spPr>
        <p:txBody>
          <a:bodyPr vert="horz" lIns="0" tIns="0" rIns="0" bIns="0" rtlCol="0" anchor="ctr">
            <a:noAutofit/>
          </a:bodyPr>
          <a:lstStyle>
            <a:lvl1pPr rtl="0">
              <a:defRPr lang="de-DE" smtClean="0">
                <a:solidFill>
                  <a:schemeClr val="accent6"/>
                </a:solidFill>
              </a:defRPr>
            </a:lvl1pPr>
          </a:lstStyle>
          <a:p>
            <a:r>
              <a:rPr lang="de-DE"/>
              <a:t>Handelsbefragung Zweitplatzierung / © 2023 Bormann &amp; Gordon GmbH</a:t>
            </a:r>
            <a:endParaRPr lang="en-US" dirty="0"/>
          </a:p>
        </p:txBody>
      </p:sp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F2D97912-1808-4A79-BC76-C94D33D0EF9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605669" y="6571519"/>
            <a:ext cx="69452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rtl="0">
              <a:defRPr lang="de-DE" smtClean="0">
                <a:solidFill>
                  <a:schemeClr val="accent6"/>
                </a:solidFill>
              </a:defRPr>
            </a:lvl1pPr>
          </a:lstStyle>
          <a:p>
            <a:fld id="{A9812CF7-B7C8-494D-A685-23B01D9D5DCC}" type="datetime1">
              <a:rPr lang="de-DE" smtClean="0"/>
              <a:t>03.11.2023</a:t>
            </a:fld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9C6EE7-85F3-437A-A4D1-466D6CC50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548581" y="6571519"/>
            <a:ext cx="235418" cy="138499"/>
          </a:xfr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mtClean="0">
                <a:solidFill>
                  <a:schemeClr val="accent6"/>
                </a:solidFill>
              </a:defRPr>
            </a:lvl1pPr>
          </a:lstStyle>
          <a:p>
            <a:fld id="{BA161025-98FF-4C1D-96AB-5CF6019945BE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0" name="Textplatzhalter 35">
            <a:extLst>
              <a:ext uri="{FF2B5EF4-FFF2-40B4-BE49-F238E27FC236}">
                <a16:creationId xmlns:a16="http://schemas.microsoft.com/office/drawing/2014/main" id="{C966F641-22E6-450E-88FE-669EDE3E1F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5669" y="1963007"/>
            <a:ext cx="637592" cy="637876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de-DE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51" name="Textplatzhalter 35">
            <a:extLst>
              <a:ext uri="{FF2B5EF4-FFF2-40B4-BE49-F238E27FC236}">
                <a16:creationId xmlns:a16="http://schemas.microsoft.com/office/drawing/2014/main" id="{62357D06-1D02-4DCA-BEB3-2ACDD478CC9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605669" y="3102379"/>
            <a:ext cx="637592" cy="637876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de-DE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52" name="Textplatzhalter 35">
            <a:extLst>
              <a:ext uri="{FF2B5EF4-FFF2-40B4-BE49-F238E27FC236}">
                <a16:creationId xmlns:a16="http://schemas.microsoft.com/office/drawing/2014/main" id="{5DC43238-4B72-4703-9481-C9DF4C68293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05669" y="4241750"/>
            <a:ext cx="637592" cy="637876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de-DE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B2C04B1D-27B8-4A83-9268-D872A4DA43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55849" y="2004946"/>
            <a:ext cx="4382277" cy="553998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rtl="0">
              <a:buNone/>
              <a:defRPr sz="1800" b="0">
                <a:solidFill>
                  <a:schemeClr val="tx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noProof="1"/>
              <a:t>Lorem ipsum dolor sit amet, consetetur sadipscing elitr</a:t>
            </a:r>
          </a:p>
        </p:txBody>
      </p:sp>
      <p:sp>
        <p:nvSpPr>
          <p:cNvPr id="53" name="Textplatzhalter 7">
            <a:extLst>
              <a:ext uri="{FF2B5EF4-FFF2-40B4-BE49-F238E27FC236}">
                <a16:creationId xmlns:a16="http://schemas.microsoft.com/office/drawing/2014/main" id="{C3C1413F-B9A4-4088-A72C-5F93D21EEFD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55849" y="3144319"/>
            <a:ext cx="4382277" cy="553998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rtl="0">
              <a:buNone/>
              <a:defRPr sz="1800" b="0">
                <a:solidFill>
                  <a:schemeClr val="tx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noProof="1"/>
              <a:t>Lorem ipsum dolor sit amet, consetetur sadipscing elitr</a:t>
            </a:r>
          </a:p>
        </p:txBody>
      </p:sp>
      <p:sp>
        <p:nvSpPr>
          <p:cNvPr id="54" name="Textplatzhalter 7">
            <a:extLst>
              <a:ext uri="{FF2B5EF4-FFF2-40B4-BE49-F238E27FC236}">
                <a16:creationId xmlns:a16="http://schemas.microsoft.com/office/drawing/2014/main" id="{933A2172-2F7C-4D94-8C36-9074AE1C6F9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555849" y="4283689"/>
            <a:ext cx="4382277" cy="553998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rtl="0">
              <a:buNone/>
              <a:defRPr sz="1800" b="0">
                <a:solidFill>
                  <a:schemeClr val="tx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noProof="1"/>
              <a:t>Lorem ipsum dolor sit amet, consetetur sadipscing elitr</a:t>
            </a:r>
          </a:p>
        </p:txBody>
      </p: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25AD266D-C983-4043-BBEE-6E03309BEA54}"/>
              </a:ext>
            </a:extLst>
          </p:cNvPr>
          <p:cNvCxnSpPr/>
          <p:nvPr userDrawn="1"/>
        </p:nvCxnSpPr>
        <p:spPr>
          <a:xfrm>
            <a:off x="5605669" y="6489700"/>
            <a:ext cx="6178328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A054924-B524-432B-985E-FBE8B31556BB}"/>
              </a:ext>
            </a:extLst>
          </p:cNvPr>
          <p:cNvCxnSpPr/>
          <p:nvPr userDrawn="1"/>
        </p:nvCxnSpPr>
        <p:spPr>
          <a:xfrm>
            <a:off x="5605669" y="933725"/>
            <a:ext cx="617832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55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4 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3DBDCD-575F-427F-8844-0C51A786A2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344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13DBDCD-575F-427F-8844-0C51A786A2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Grafik 29">
            <a:extLst>
              <a:ext uri="{FF2B5EF4-FFF2-40B4-BE49-F238E27FC236}">
                <a16:creationId xmlns:a16="http://schemas.microsoft.com/office/drawing/2014/main" id="{6BF52DD0-BB2E-4BC8-9C97-3F8B1DA227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" y="0"/>
            <a:ext cx="5189876" cy="6850316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2621EE8-6953-4497-A70D-9B7B1952DF6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Layout-Schutz" hidden="1">
            <a:extLst>
              <a:ext uri="{FF2B5EF4-FFF2-40B4-BE49-F238E27FC236}">
                <a16:creationId xmlns:a16="http://schemas.microsoft.com/office/drawing/2014/main" id="{68D74F79-6B91-465E-81A6-764A037F3D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52873" y="1494072"/>
            <a:ext cx="11286254" cy="46532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 rtl="0">
              <a:spcBef>
                <a:spcPts val="600"/>
              </a:spcBef>
            </a:pPr>
            <a:endParaRPr lang="de-DE" sz="120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ABDB4C4-63AB-4E33-B58F-038A84FDD0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605670" y="262638"/>
            <a:ext cx="6178328" cy="332399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de-DE" dirty="0"/>
              <a:t>AGENDA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6DDC9E47-66A3-4E69-8D0B-5596D179202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2270" y="262640"/>
            <a:ext cx="1251729" cy="266595"/>
          </a:xfrm>
          <a:prstGeom prst="rect">
            <a:avLst/>
          </a:prstGeom>
        </p:spPr>
      </p:pic>
      <p:sp>
        <p:nvSpPr>
          <p:cNvPr id="90" name="Textplatzhalter 35">
            <a:extLst>
              <a:ext uri="{FF2B5EF4-FFF2-40B4-BE49-F238E27FC236}">
                <a16:creationId xmlns:a16="http://schemas.microsoft.com/office/drawing/2014/main" id="{C966F641-22E6-450E-88FE-669EDE3E1F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5669" y="1571121"/>
            <a:ext cx="637592" cy="637876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de-DE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51" name="Textplatzhalter 35">
            <a:extLst>
              <a:ext uri="{FF2B5EF4-FFF2-40B4-BE49-F238E27FC236}">
                <a16:creationId xmlns:a16="http://schemas.microsoft.com/office/drawing/2014/main" id="{62357D06-1D02-4DCA-BEB3-2ACDD478CC9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605669" y="2591959"/>
            <a:ext cx="637592" cy="637876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de-DE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52" name="Textplatzhalter 35">
            <a:extLst>
              <a:ext uri="{FF2B5EF4-FFF2-40B4-BE49-F238E27FC236}">
                <a16:creationId xmlns:a16="http://schemas.microsoft.com/office/drawing/2014/main" id="{5DC43238-4B72-4703-9481-C9DF4C68293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05669" y="3612797"/>
            <a:ext cx="637592" cy="637876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de-DE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B2C04B1D-27B8-4A83-9268-D872A4DA43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55849" y="1613061"/>
            <a:ext cx="4382277" cy="553998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rtl="0">
              <a:buNone/>
              <a:defRPr sz="1800" b="0">
                <a:solidFill>
                  <a:schemeClr val="tx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noProof="1"/>
              <a:t>Lorem ipsum dolor sit amet, consetetur sadipscing elitr</a:t>
            </a:r>
          </a:p>
        </p:txBody>
      </p:sp>
      <p:sp>
        <p:nvSpPr>
          <p:cNvPr id="53" name="Textplatzhalter 7">
            <a:extLst>
              <a:ext uri="{FF2B5EF4-FFF2-40B4-BE49-F238E27FC236}">
                <a16:creationId xmlns:a16="http://schemas.microsoft.com/office/drawing/2014/main" id="{C3C1413F-B9A4-4088-A72C-5F93D21EEFD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55849" y="3654736"/>
            <a:ext cx="4382277" cy="553998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rtl="0">
              <a:buNone/>
              <a:defRPr sz="1800" b="0">
                <a:solidFill>
                  <a:schemeClr val="tx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noProof="1"/>
              <a:t>Lorem ipsum dolor sit amet, consetetur sadipscing elitr</a:t>
            </a:r>
          </a:p>
        </p:txBody>
      </p:sp>
      <p:sp>
        <p:nvSpPr>
          <p:cNvPr id="54" name="Textplatzhalter 7">
            <a:extLst>
              <a:ext uri="{FF2B5EF4-FFF2-40B4-BE49-F238E27FC236}">
                <a16:creationId xmlns:a16="http://schemas.microsoft.com/office/drawing/2014/main" id="{933A2172-2F7C-4D94-8C36-9074AE1C6F9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555849" y="4675574"/>
            <a:ext cx="4382277" cy="553998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rtl="0">
              <a:buNone/>
              <a:defRPr sz="1800" b="0">
                <a:solidFill>
                  <a:schemeClr val="tx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noProof="1"/>
              <a:t>Lorem ipsum dolor sit amet, consetetur sadipscing elitr</a:t>
            </a:r>
          </a:p>
        </p:txBody>
      </p:sp>
      <p:sp>
        <p:nvSpPr>
          <p:cNvPr id="20" name="Textplatzhalter 35">
            <a:extLst>
              <a:ext uri="{FF2B5EF4-FFF2-40B4-BE49-F238E27FC236}">
                <a16:creationId xmlns:a16="http://schemas.microsoft.com/office/drawing/2014/main" id="{D5956FEF-15A9-4654-B2A1-094E7609F13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605669" y="4633635"/>
            <a:ext cx="637592" cy="637876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de-DE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58CE8A89-C195-4B20-BF0F-1C2FAAEF59F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55849" y="2633899"/>
            <a:ext cx="4382277" cy="553998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rtl="0">
              <a:buNone/>
              <a:defRPr sz="1800" b="0">
                <a:solidFill>
                  <a:schemeClr val="tx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noProof="1"/>
              <a:t>Lorem ipsum dolor sit amet, consetetur sadipscing elit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25B9A3-B023-4684-8BD6-348A50F1E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6347813" y="6571519"/>
            <a:ext cx="3726461" cy="138499"/>
          </a:xfrm>
        </p:spPr>
        <p:txBody>
          <a:bodyPr vert="horz" lIns="0" tIns="0" rIns="0" bIns="0" rtlCol="0" anchor="ctr">
            <a:noAutofit/>
          </a:bodyPr>
          <a:lstStyle>
            <a:lvl1pPr rtl="0">
              <a:defRPr lang="de-DE" smtClean="0">
                <a:solidFill>
                  <a:schemeClr val="accent6"/>
                </a:solidFill>
              </a:defRPr>
            </a:lvl1pPr>
          </a:lstStyle>
          <a:p>
            <a:r>
              <a:rPr lang="de-DE"/>
              <a:t>Handelsbefragung Zweitplatzierung / © 2023 Bormann &amp; Gordon GmbH</a:t>
            </a:r>
            <a:endParaRPr lang="en-US" dirty="0"/>
          </a:p>
        </p:txBody>
      </p:sp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F2D97912-1808-4A79-BC76-C94D33D0EF9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605669" y="6571519"/>
            <a:ext cx="69452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rtl="0">
              <a:defRPr lang="de-DE" smtClean="0">
                <a:solidFill>
                  <a:schemeClr val="accent6"/>
                </a:solidFill>
              </a:defRPr>
            </a:lvl1pPr>
          </a:lstStyle>
          <a:p>
            <a:fld id="{C892B018-F77B-4AFB-873F-1C11F331572A}" type="datetime1">
              <a:rPr lang="de-DE" smtClean="0"/>
              <a:t>03.11.2023</a:t>
            </a:fld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9C6EE7-85F3-437A-A4D1-466D6CC50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548581" y="6571519"/>
            <a:ext cx="235418" cy="138499"/>
          </a:xfr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mtClean="0">
                <a:solidFill>
                  <a:schemeClr val="accent6"/>
                </a:solidFill>
              </a:defRPr>
            </a:lvl1pPr>
          </a:lstStyle>
          <a:p>
            <a:fld id="{BA161025-98FF-4C1D-96AB-5CF6019945BE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56C8D23-1F05-49AE-AEF1-BF9D18A6E046}"/>
              </a:ext>
            </a:extLst>
          </p:cNvPr>
          <p:cNvCxnSpPr/>
          <p:nvPr userDrawn="1"/>
        </p:nvCxnSpPr>
        <p:spPr>
          <a:xfrm>
            <a:off x="5605669" y="6489700"/>
            <a:ext cx="6178328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7A7ED27-87B3-4DBF-B7D7-AF8F26D795A8}"/>
              </a:ext>
            </a:extLst>
          </p:cNvPr>
          <p:cNvCxnSpPr/>
          <p:nvPr userDrawn="1"/>
        </p:nvCxnSpPr>
        <p:spPr>
          <a:xfrm>
            <a:off x="5605669" y="933725"/>
            <a:ext cx="617832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3899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3DBDCD-575F-427F-8844-0C51A786A2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841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13DBDCD-575F-427F-8844-0C51A786A2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55717558-90BD-4368-B9CF-3CCA1F298B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" y="0"/>
            <a:ext cx="12191994" cy="6850316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2621EE8-6953-4497-A70D-9B7B1952DF6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Layout-Schutz" hidden="1">
            <a:extLst>
              <a:ext uri="{FF2B5EF4-FFF2-40B4-BE49-F238E27FC236}">
                <a16:creationId xmlns:a16="http://schemas.microsoft.com/office/drawing/2014/main" id="{68D74F79-6B91-465E-81A6-764A037F3D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52873" y="1494072"/>
            <a:ext cx="11286254" cy="46532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 rtl="0">
              <a:spcBef>
                <a:spcPts val="600"/>
              </a:spcBef>
            </a:pPr>
            <a:endParaRPr lang="de-DE" sz="1200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341A306-A9F7-4B85-A54C-F73F0D60AE3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2270" y="262640"/>
            <a:ext cx="1251729" cy="266595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32C764AB-F76F-4113-A87B-47E1969E7F35}"/>
              </a:ext>
            </a:extLst>
          </p:cNvPr>
          <p:cNvSpPr/>
          <p:nvPr userDrawn="1"/>
        </p:nvSpPr>
        <p:spPr>
          <a:xfrm>
            <a:off x="6" y="0"/>
            <a:ext cx="5189876" cy="685031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/>
          </a:p>
        </p:txBody>
      </p:sp>
      <p:sp>
        <p:nvSpPr>
          <p:cNvPr id="15" name="Textplatzhalter 35">
            <a:extLst>
              <a:ext uri="{FF2B5EF4-FFF2-40B4-BE49-F238E27FC236}">
                <a16:creationId xmlns:a16="http://schemas.microsoft.com/office/drawing/2014/main" id="{B122788F-E082-4D6B-92A4-6137E8E6E77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24564" y="2984904"/>
            <a:ext cx="872436" cy="872824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buNone/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565C35C4-512F-4735-9AF3-17CF3278E76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92167" y="2867320"/>
            <a:ext cx="3297334" cy="110799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rtl="0">
              <a:buNone/>
              <a:defRPr sz="2400" b="0">
                <a:solidFill>
                  <a:schemeClr val="tx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noProof="1"/>
              <a:t>Lorem ipsum dolor sit amet, consetetur sadipscing elitr</a:t>
            </a:r>
          </a:p>
        </p:txBody>
      </p:sp>
      <p:sp>
        <p:nvSpPr>
          <p:cNvPr id="21" name="Textplatzhalter 35">
            <a:extLst>
              <a:ext uri="{FF2B5EF4-FFF2-40B4-BE49-F238E27FC236}">
                <a16:creationId xmlns:a16="http://schemas.microsoft.com/office/drawing/2014/main" id="{DB874241-D7FA-46C5-AC8D-F62360F57B6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801100" y="3543300"/>
            <a:ext cx="2908300" cy="2908300"/>
          </a:xfrm>
          <a:prstGeom prst="ellipse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txBody>
          <a:bodyPr vert="horz" wrap="none" lIns="72000" tIns="72000" rIns="72000" bIns="72000" rtlCol="0" anchor="ctr">
            <a:noAutofit/>
          </a:bodyPr>
          <a:lstStyle>
            <a:lvl1pPr marL="0" indent="0" algn="ctr">
              <a:buNone/>
              <a:defRPr lang="de-DE" dirty="0">
                <a:solidFill>
                  <a:schemeClr val="bg1"/>
                </a:solidFill>
              </a:defRPr>
            </a:lvl1pPr>
          </a:lstStyle>
          <a:p>
            <a:pPr marL="0" lvl="0" algn="ctr">
              <a:spcAft>
                <a:spcPts val="300"/>
              </a:spcAft>
            </a:pPr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697109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3DBDCD-575F-427F-8844-0C51A786A2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693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13DBDCD-575F-427F-8844-0C51A786A2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2621EE8-6953-4497-A70D-9B7B1952DF6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Layout-Schutz" hidden="1">
            <a:extLst>
              <a:ext uri="{FF2B5EF4-FFF2-40B4-BE49-F238E27FC236}">
                <a16:creationId xmlns:a16="http://schemas.microsoft.com/office/drawing/2014/main" id="{68D74F79-6B91-465E-81A6-764A037F3D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52873" y="1494072"/>
            <a:ext cx="11286254" cy="46532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 rtl="0">
              <a:spcBef>
                <a:spcPts val="600"/>
              </a:spcBef>
            </a:pPr>
            <a:endParaRPr lang="de-DE" sz="1200" dirty="0"/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389ED21A-781C-4FBA-8E88-9ECE2E684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99" y="616645"/>
            <a:ext cx="11376000" cy="246221"/>
          </a:xfrm>
          <a:prstGeom prst="rect">
            <a:avLst/>
          </a:prstGeom>
        </p:spPr>
        <p:txBody>
          <a:bodyPr anchor="t">
            <a:noAutofit/>
          </a:bodyPr>
          <a:lstStyle>
            <a:lvl1pPr rtl="0">
              <a:buNone/>
              <a:defRPr sz="16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25B9A3-B023-4684-8BD6-348A50F1E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1150144" y="6571519"/>
            <a:ext cx="7564290" cy="138499"/>
          </a:xfrm>
        </p:spPr>
        <p:txBody>
          <a:bodyPr vert="horz" lIns="0" tIns="0" rIns="0" bIns="0" rtlCol="0" anchor="ctr">
            <a:noAutofit/>
          </a:bodyPr>
          <a:lstStyle>
            <a:lvl1pPr rtl="0">
              <a:defRPr lang="de-DE" dirty="0" err="1">
                <a:solidFill>
                  <a:schemeClr val="accent6"/>
                </a:solidFill>
              </a:defRPr>
            </a:lvl1pPr>
          </a:lstStyle>
          <a:p>
            <a:r>
              <a:rPr lang="de-DE"/>
              <a:t>Handelsbefragung Zweitplatzierung / © 2023 Bormann &amp; Gordon GmbH</a:t>
            </a:r>
            <a:endParaRPr lang="en-US" dirty="0"/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81B7607F-AE84-4A78-B1DD-866E0D2304A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07999" y="6571519"/>
            <a:ext cx="69452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rtl="0">
              <a:defRPr lang="de-DE" smtClean="0">
                <a:solidFill>
                  <a:schemeClr val="accent6"/>
                </a:solidFill>
              </a:defRPr>
            </a:lvl1pPr>
          </a:lstStyle>
          <a:p>
            <a:fld id="{56EB37AC-3257-4C01-BDC9-1BF7B0A0EF2D}" type="datetime1">
              <a:rPr lang="de-DE" smtClean="0"/>
              <a:t>03.11.2023</a:t>
            </a:fld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ABDB4C4-63AB-4E33-B58F-038A84FDD0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99" y="262638"/>
            <a:ext cx="11376000" cy="332399"/>
          </a:xfrm>
        </p:spPr>
        <p:txBody>
          <a:bodyPr vert="horz"/>
          <a:lstStyle>
            <a:lvl1pPr rtl="0">
              <a:defRPr sz="2400"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9C6EE7-85F3-437A-A4D1-466D6CC50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548581" y="6571519"/>
            <a:ext cx="235418" cy="138499"/>
          </a:xfr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mtClean="0"/>
            </a:lvl1pPr>
          </a:lstStyle>
          <a:p>
            <a:fld id="{BA161025-98FF-4C1D-96AB-5CF6019945BE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2B375CEE-A505-405A-86EF-CC07182063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99" y="6282690"/>
            <a:ext cx="11376000" cy="138499"/>
          </a:xfrm>
          <a:prstGeom prst="rect">
            <a:avLst/>
          </a:prstGeom>
        </p:spPr>
        <p:txBody>
          <a:bodyPr anchor="b">
            <a:noAutofit/>
          </a:bodyPr>
          <a:lstStyle>
            <a:lvl1pPr rtl="0">
              <a:buNone/>
              <a:defRPr sz="9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62255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3DBDCD-575F-427F-8844-0C51A786A2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0587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13DBDCD-575F-427F-8844-0C51A786A2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2621EE8-6953-4497-A70D-9B7B1952DF6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Layout-Schutz" hidden="1">
            <a:extLst>
              <a:ext uri="{FF2B5EF4-FFF2-40B4-BE49-F238E27FC236}">
                <a16:creationId xmlns:a16="http://schemas.microsoft.com/office/drawing/2014/main" id="{68D74F79-6B91-465E-81A6-764A037F3D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52873" y="1494072"/>
            <a:ext cx="11286254" cy="46532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 rtl="0">
              <a:spcBef>
                <a:spcPts val="600"/>
              </a:spcBef>
            </a:pPr>
            <a:endParaRPr lang="de-DE" sz="1200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680B315A-0F54-4D91-9F80-FB2B900057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99" y="6282690"/>
            <a:ext cx="11376000" cy="138499"/>
          </a:xfrm>
          <a:prstGeom prst="rect">
            <a:avLst/>
          </a:prstGeom>
        </p:spPr>
        <p:txBody>
          <a:bodyPr anchor="b">
            <a:noAutofit/>
          </a:bodyPr>
          <a:lstStyle>
            <a:lvl1pPr rtl="0">
              <a:buNone/>
              <a:defRPr sz="9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81B7607F-AE84-4A78-B1DD-866E0D2304A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07999" y="6571519"/>
            <a:ext cx="69452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rtl="0">
              <a:defRPr lang="de-DE" smtClean="0"/>
            </a:lvl1pPr>
          </a:lstStyle>
          <a:p>
            <a:fld id="{CFEA11BB-70CB-4B1C-839C-2E73EFCD5078}" type="datetime1">
              <a:rPr lang="de-DE" smtClean="0"/>
              <a:t>03.11.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25B9A3-B023-4684-8BD6-348A50F1E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1150144" y="6571519"/>
            <a:ext cx="7564290" cy="138499"/>
          </a:xfrm>
        </p:spPr>
        <p:txBody>
          <a:bodyPr vert="horz" lIns="0" tIns="0" rIns="0" bIns="0" rtlCol="0" anchor="ctr">
            <a:noAutofit/>
          </a:bodyPr>
          <a:lstStyle>
            <a:lvl1pPr rtl="0">
              <a:defRPr lang="de-DE" dirty="0" err="1"/>
            </a:lvl1pPr>
          </a:lstStyle>
          <a:p>
            <a:r>
              <a:rPr lang="de-DE"/>
              <a:t>Handelsbefragung Zweitplatzierung / © 2023 Bormann &amp; Gordon GmbH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9C6EE7-85F3-437A-A4D1-466D6CC50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548581" y="6571519"/>
            <a:ext cx="235418" cy="138499"/>
          </a:xfrm>
        </p:spPr>
        <p:txBody>
          <a:bodyPr vert="horz" wrap="square" lIns="0" tIns="0" rIns="0" bIns="0" rtlCol="0" anchor="ctr">
            <a:noAutofit/>
          </a:bodyPr>
          <a:lstStyle>
            <a:lvl1pPr rtl="0">
              <a:defRPr lang="de-DE" smtClean="0"/>
            </a:lvl1pPr>
          </a:lstStyle>
          <a:p>
            <a:fld id="{BA161025-98FF-4C1D-96AB-5CF6019945B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>
            <a:extLst>
              <a:ext uri="{FF2B5EF4-FFF2-40B4-BE49-F238E27FC236}">
                <a16:creationId xmlns:a16="http://schemas.microsoft.com/office/drawing/2014/main" id="{F8C7AF6E-1388-449C-AA6F-62144A57639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07999" y="1287293"/>
            <a:ext cx="11376000" cy="48488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3EFEFD01-0949-4D64-8F31-02599CB195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99" y="616645"/>
            <a:ext cx="11376000" cy="246221"/>
          </a:xfrm>
          <a:prstGeom prst="rect">
            <a:avLst/>
          </a:prstGeom>
        </p:spPr>
        <p:txBody>
          <a:bodyPr anchor="t">
            <a:noAutofit/>
          </a:bodyPr>
          <a:lstStyle>
            <a:lvl1pPr rtl="0">
              <a:buNone/>
              <a:defRPr sz="16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ABDB4C4-63AB-4E33-B58F-038A84FDD0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99" y="262638"/>
            <a:ext cx="11376000" cy="33239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TITEL BEARBEITEN </a:t>
            </a:r>
          </a:p>
        </p:txBody>
      </p:sp>
    </p:spTree>
    <p:extLst>
      <p:ext uri="{BB962C8B-B14F-4D97-AF65-F5344CB8AC3E}">
        <p14:creationId xmlns:p14="http://schemas.microsoft.com/office/powerpoint/2010/main" val="1211161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_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3DBDCD-575F-427F-8844-0C51A786A2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4902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13DBDCD-575F-427F-8844-0C51A786A2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2621EE8-6953-4497-A70D-9B7B1952DF6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Layout-Schutz" hidden="1">
            <a:extLst>
              <a:ext uri="{FF2B5EF4-FFF2-40B4-BE49-F238E27FC236}">
                <a16:creationId xmlns:a16="http://schemas.microsoft.com/office/drawing/2014/main" id="{68D74F79-6B91-465E-81A6-764A037F3D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52873" y="1494072"/>
            <a:ext cx="11286254" cy="46532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 rtl="0">
              <a:spcBef>
                <a:spcPts val="600"/>
              </a:spcBef>
            </a:pPr>
            <a:endParaRPr lang="de-DE" sz="1200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680B315A-0F54-4D91-9F80-FB2B900057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99" y="6282690"/>
            <a:ext cx="11376000" cy="138499"/>
          </a:xfrm>
          <a:prstGeom prst="rect">
            <a:avLst/>
          </a:prstGeom>
        </p:spPr>
        <p:txBody>
          <a:bodyPr anchor="b">
            <a:noAutofit/>
          </a:bodyPr>
          <a:lstStyle>
            <a:lvl1pPr rtl="0">
              <a:buNone/>
              <a:defRPr sz="9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81B7607F-AE84-4A78-B1DD-866E0D2304A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07999" y="6571519"/>
            <a:ext cx="69452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rtl="0">
              <a:defRPr lang="de-DE" smtClean="0"/>
            </a:lvl1pPr>
          </a:lstStyle>
          <a:p>
            <a:fld id="{C8EB6B7A-C1D9-4D48-8DA5-BDEE080C9ADE}" type="datetime1">
              <a:rPr lang="de-DE" smtClean="0"/>
              <a:t>03.11.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25B9A3-B023-4684-8BD6-348A50F1E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1150144" y="6571519"/>
            <a:ext cx="7564290" cy="138499"/>
          </a:xfrm>
        </p:spPr>
        <p:txBody>
          <a:bodyPr vert="horz" lIns="0" tIns="0" rIns="0" bIns="0" rtlCol="0" anchor="ctr">
            <a:noAutofit/>
          </a:bodyPr>
          <a:lstStyle>
            <a:lvl1pPr rtl="0">
              <a:defRPr lang="de-DE" dirty="0" err="1"/>
            </a:lvl1pPr>
          </a:lstStyle>
          <a:p>
            <a:r>
              <a:rPr lang="de-DE"/>
              <a:t>Handelsbefragung Zweitplatzierung / © 2023 Bormann &amp; Gordon GmbH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9C6EE7-85F3-437A-A4D1-466D6CC50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548581" y="6571519"/>
            <a:ext cx="235418" cy="138499"/>
          </a:xfrm>
        </p:spPr>
        <p:txBody>
          <a:bodyPr vert="horz" wrap="square" lIns="0" tIns="0" rIns="0" bIns="0" rtlCol="0" anchor="ctr">
            <a:noAutofit/>
          </a:bodyPr>
          <a:lstStyle>
            <a:lvl1pPr rtl="0">
              <a:defRPr lang="de-DE" smtClean="0"/>
            </a:lvl1pPr>
          </a:lstStyle>
          <a:p>
            <a:fld id="{BA161025-98FF-4C1D-96AB-5CF6019945B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>
            <a:extLst>
              <a:ext uri="{FF2B5EF4-FFF2-40B4-BE49-F238E27FC236}">
                <a16:creationId xmlns:a16="http://schemas.microsoft.com/office/drawing/2014/main" id="{F8C7AF6E-1388-449C-AA6F-62144A57639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07999" y="1287293"/>
            <a:ext cx="5580000" cy="48488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3EFEFD01-0949-4D64-8F31-02599CB195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99" y="616645"/>
            <a:ext cx="11376000" cy="246221"/>
          </a:xfrm>
          <a:prstGeom prst="rect">
            <a:avLst/>
          </a:prstGeom>
        </p:spPr>
        <p:txBody>
          <a:bodyPr anchor="t">
            <a:noAutofit/>
          </a:bodyPr>
          <a:lstStyle>
            <a:lvl1pPr rtl="0">
              <a:buNone/>
              <a:defRPr sz="16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ABDB4C4-63AB-4E33-B58F-038A84FDD0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99" y="262638"/>
            <a:ext cx="11376000" cy="33239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TITEL BEARBEITEN </a:t>
            </a:r>
          </a:p>
        </p:txBody>
      </p:sp>
      <p:sp>
        <p:nvSpPr>
          <p:cNvPr id="14" name="Inhaltsplatzhalter 10">
            <a:extLst>
              <a:ext uri="{FF2B5EF4-FFF2-40B4-BE49-F238E27FC236}">
                <a16:creationId xmlns:a16="http://schemas.microsoft.com/office/drawing/2014/main" id="{195B4A27-23EF-408F-B969-F634FC03FD38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6203999" y="1287293"/>
            <a:ext cx="5580000" cy="48488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54287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3DBDCD-575F-427F-8844-0C51A786A2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34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13DBDCD-575F-427F-8844-0C51A786A2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2621EE8-6953-4497-A70D-9B7B1952DF6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Layout-Schutz" hidden="1">
            <a:extLst>
              <a:ext uri="{FF2B5EF4-FFF2-40B4-BE49-F238E27FC236}">
                <a16:creationId xmlns:a16="http://schemas.microsoft.com/office/drawing/2014/main" id="{68D74F79-6B91-465E-81A6-764A037F3D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52873" y="1494072"/>
            <a:ext cx="11286254" cy="46532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 rtl="0">
              <a:spcBef>
                <a:spcPts val="600"/>
              </a:spcBef>
            </a:pPr>
            <a:endParaRPr lang="de-DE" sz="1200" dirty="0"/>
          </a:p>
        </p:txBody>
      </p:sp>
      <p:sp>
        <p:nvSpPr>
          <p:cNvPr id="20" name="Inhaltsplatzhalter 10">
            <a:extLst>
              <a:ext uri="{FF2B5EF4-FFF2-40B4-BE49-F238E27FC236}">
                <a16:creationId xmlns:a16="http://schemas.microsoft.com/office/drawing/2014/main" id="{F8C7AF6E-1388-449C-AA6F-62144A57639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07999" y="1287293"/>
            <a:ext cx="5580000" cy="48488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3EFEFD01-0949-4D64-8F31-02599CB195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99" y="616645"/>
            <a:ext cx="5580000" cy="246221"/>
          </a:xfrm>
          <a:prstGeom prst="rect">
            <a:avLst/>
          </a:prstGeom>
        </p:spPr>
        <p:txBody>
          <a:bodyPr anchor="t">
            <a:noAutofit/>
          </a:bodyPr>
          <a:lstStyle>
            <a:lvl1pPr rtl="0">
              <a:buNone/>
              <a:defRPr sz="16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ABDB4C4-63AB-4E33-B58F-038A84FDD0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99" y="262638"/>
            <a:ext cx="5580000" cy="33239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INHALT UND BILD</a:t>
            </a:r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703F3C0D-AC25-4795-B061-D7F0171E35B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203998" y="0"/>
            <a:ext cx="5988001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680B315A-0F54-4D91-9F80-FB2B900057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99" y="6282690"/>
            <a:ext cx="5580000" cy="138499"/>
          </a:xfrm>
          <a:prstGeom prst="rect">
            <a:avLst/>
          </a:prstGeom>
        </p:spPr>
        <p:txBody>
          <a:bodyPr anchor="b">
            <a:noAutofit/>
          </a:bodyPr>
          <a:lstStyle>
            <a:lvl1pPr rtl="0">
              <a:buNone/>
              <a:defRPr sz="9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81B7607F-AE84-4A78-B1DD-866E0D2304A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07999" y="6571519"/>
            <a:ext cx="69452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rtl="0">
              <a:defRPr lang="de-DE" smtClean="0"/>
            </a:lvl1pPr>
          </a:lstStyle>
          <a:p>
            <a:fld id="{F4B7D50C-F744-4550-B17B-5C556631D374}" type="datetime1">
              <a:rPr lang="de-DE" smtClean="0"/>
              <a:t>03.11.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25B9A3-B023-4684-8BD6-348A50F1E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1150143" y="6571519"/>
            <a:ext cx="4837855" cy="138499"/>
          </a:xfrm>
        </p:spPr>
        <p:txBody>
          <a:bodyPr vert="horz" lIns="0" tIns="0" rIns="0" bIns="0" rtlCol="0" anchor="ctr">
            <a:noAutofit/>
          </a:bodyPr>
          <a:lstStyle>
            <a:lvl1pPr rtl="0">
              <a:defRPr lang="de-DE" dirty="0" err="1"/>
            </a:lvl1pPr>
          </a:lstStyle>
          <a:p>
            <a:r>
              <a:rPr lang="de-DE"/>
              <a:t>Handelsbefragung Zweitplatzierung / © 2023 Bormann &amp; Gordon GmbH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9C6EE7-85F3-437A-A4D1-466D6CC50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548581" y="6571519"/>
            <a:ext cx="235418" cy="138499"/>
          </a:xfrm>
        </p:spPr>
        <p:txBody>
          <a:bodyPr vert="horz" wrap="square" lIns="0" tIns="0" rIns="0" bIns="0" rtlCol="0" anchor="ctr">
            <a:noAutofit/>
          </a:bodyPr>
          <a:lstStyle>
            <a:lvl1pPr rtl="0">
              <a:defRPr lang="de-DE" smtClean="0">
                <a:solidFill>
                  <a:schemeClr val="bg1"/>
                </a:solidFill>
              </a:defRPr>
            </a:lvl1pPr>
          </a:lstStyle>
          <a:p>
            <a:fld id="{BA161025-98FF-4C1D-96AB-5CF6019945BE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361DE0D-175F-4A6B-8B65-1D265FED127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2270" y="262640"/>
            <a:ext cx="1251729" cy="266595"/>
          </a:xfrm>
          <a:prstGeom prst="rect">
            <a:avLst/>
          </a:prstGeom>
        </p:spPr>
      </p:pic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353D9B07-AE12-4E99-B822-203CD14C610C}"/>
              </a:ext>
            </a:extLst>
          </p:cNvPr>
          <p:cNvCxnSpPr/>
          <p:nvPr userDrawn="1"/>
        </p:nvCxnSpPr>
        <p:spPr>
          <a:xfrm>
            <a:off x="407999" y="6489700"/>
            <a:ext cx="558000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E3B73110-F652-4EA3-9EF0-574B64F09C35}"/>
              </a:ext>
            </a:extLst>
          </p:cNvPr>
          <p:cNvCxnSpPr/>
          <p:nvPr userDrawn="1"/>
        </p:nvCxnSpPr>
        <p:spPr>
          <a:xfrm>
            <a:off x="407999" y="933725"/>
            <a:ext cx="5580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07371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anzsei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3DBDCD-575F-427F-8844-0C51A786A2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817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13DBDCD-575F-427F-8844-0C51A786A2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2621EE8-6953-4497-A70D-9B7B1952DF6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Layout-Schutz" hidden="1">
            <a:extLst>
              <a:ext uri="{FF2B5EF4-FFF2-40B4-BE49-F238E27FC236}">
                <a16:creationId xmlns:a16="http://schemas.microsoft.com/office/drawing/2014/main" id="{68D74F79-6B91-465E-81A6-764A037F3D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52873" y="1494072"/>
            <a:ext cx="11286254" cy="46532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 rtl="0">
              <a:spcBef>
                <a:spcPts val="600"/>
              </a:spcBef>
            </a:pPr>
            <a:endParaRPr lang="de-DE" sz="1200" dirty="0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3EFEFD01-0949-4D64-8F31-02599CB195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99" y="616645"/>
            <a:ext cx="11376000" cy="246221"/>
          </a:xfrm>
          <a:prstGeom prst="rect">
            <a:avLst/>
          </a:prstGeom>
        </p:spPr>
        <p:txBody>
          <a:bodyPr anchor="t">
            <a:noAutofit/>
          </a:bodyPr>
          <a:lstStyle>
            <a:lvl1pPr rtl="0">
              <a:buNone/>
              <a:defRPr sz="16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ABDB4C4-63AB-4E33-B58F-038A84FDD0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99" y="262638"/>
            <a:ext cx="11376000" cy="33239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BILD GANZSEITIG</a:t>
            </a:r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703F3C0D-AC25-4795-B061-D7F0171E35B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07999" y="1287293"/>
            <a:ext cx="11376000" cy="48488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680B315A-0F54-4D91-9F80-FB2B900057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99" y="6282690"/>
            <a:ext cx="11376000" cy="138499"/>
          </a:xfrm>
          <a:prstGeom prst="rect">
            <a:avLst/>
          </a:prstGeom>
        </p:spPr>
        <p:txBody>
          <a:bodyPr anchor="b">
            <a:noAutofit/>
          </a:bodyPr>
          <a:lstStyle>
            <a:lvl1pPr rtl="0">
              <a:buNone/>
              <a:defRPr sz="9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81B7607F-AE84-4A78-B1DD-866E0D2304A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07999" y="6571519"/>
            <a:ext cx="69452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rtl="0">
              <a:defRPr lang="de-DE" smtClean="0"/>
            </a:lvl1pPr>
          </a:lstStyle>
          <a:p>
            <a:fld id="{B3901D00-FF8D-4EBC-86D0-37ECF0BEE6CA}" type="datetime1">
              <a:rPr lang="de-DE" smtClean="0"/>
              <a:t>03.11.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725B9A3-B023-4684-8BD6-348A50F1E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1150144" y="6571519"/>
            <a:ext cx="7564290" cy="138499"/>
          </a:xfrm>
        </p:spPr>
        <p:txBody>
          <a:bodyPr vert="horz" lIns="0" tIns="0" rIns="0" bIns="0" rtlCol="0" anchor="ctr">
            <a:noAutofit/>
          </a:bodyPr>
          <a:lstStyle>
            <a:lvl1pPr rtl="0">
              <a:defRPr lang="de-DE" dirty="0" err="1"/>
            </a:lvl1pPr>
          </a:lstStyle>
          <a:p>
            <a:r>
              <a:rPr lang="de-DE"/>
              <a:t>Handelsbefragung Zweitplatzierung / © 2023 Bormann &amp; Gordon GmbH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9C6EE7-85F3-437A-A4D1-466D6CC50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548581" y="6571519"/>
            <a:ext cx="235418" cy="138499"/>
          </a:xfrm>
        </p:spPr>
        <p:txBody>
          <a:bodyPr vert="horz" wrap="square" lIns="0" tIns="0" rIns="0" bIns="0" rtlCol="0" anchor="ctr">
            <a:noAutofit/>
          </a:bodyPr>
          <a:lstStyle>
            <a:lvl1pPr rtl="0">
              <a:defRPr lang="de-DE" smtClean="0"/>
            </a:lvl1pPr>
          </a:lstStyle>
          <a:p>
            <a:fld id="{BA161025-98FF-4C1D-96AB-5CF6019945B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4540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3111D6E-BA11-4FDB-95CF-D35F952546F5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05684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592" imgH="591" progId="TCLayout.ActiveDocument.1">
                  <p:embed/>
                </p:oleObj>
              </mc:Choice>
              <mc:Fallback>
                <p:oleObj name="think-cell Folie" r:id="rId17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3111D6E-BA11-4FDB-95CF-D35F952546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999" y="1287293"/>
            <a:ext cx="11376000" cy="48488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DD935C7-D3F4-47AC-BEAE-F319606984C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0F08EED0-FBBA-48FF-B60C-191FF352920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lvl="0" algn="ctr" rtl="0">
              <a:spcBef>
                <a:spcPts val="600"/>
              </a:spcBef>
            </a:pPr>
            <a:endParaRPr lang="de-DE" sz="1200" dirty="0"/>
          </a:p>
        </p:txBody>
      </p:sp>
      <p:sp>
        <p:nvSpPr>
          <p:cNvPr id="13" name="Layout-Schutz" hidden="1">
            <a:extLst>
              <a:ext uri="{FF2B5EF4-FFF2-40B4-BE49-F238E27FC236}">
                <a16:creationId xmlns:a16="http://schemas.microsoft.com/office/drawing/2014/main" id="{4FD82E31-BCEA-4904-9AF1-1E893FA978A8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390698" y="1423839"/>
            <a:ext cx="11446626" cy="480239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/>
            <a:endParaRPr lang="de-DE" sz="1400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5F78664-E100-4B1A-86E5-3B48A2B90A2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99" y="262638"/>
            <a:ext cx="11376000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dirty="0"/>
              <a:t>TITEL BEARBEITEN 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CA843E8-3340-4DC5-BA4B-15144276D7C4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2270" y="262640"/>
            <a:ext cx="1251729" cy="266595"/>
          </a:xfrm>
          <a:prstGeom prst="rect">
            <a:avLst/>
          </a:prstGeo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B7ADC4-A7D9-4D0B-B513-58C0C1AE7D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50144" y="6571519"/>
            <a:ext cx="756429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lang="de-DE" sz="900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Handelsbefragung Zweitplatzierung / © 2023 Bormann &amp; Gordon GmbH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D632C20-DF78-4C3F-81C2-62998290E25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07999" y="6571519"/>
            <a:ext cx="69452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algn="l" defTabSz="914400" rtl="0" eaLnBrk="1" latinLnBrk="0" hangingPunct="1">
              <a:defRPr lang="de-DE" sz="900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BA98197-F025-458B-ABFB-B616AC449CE9}" type="datetime1">
              <a:rPr lang="de-DE" smtClean="0"/>
              <a:t>03.11.2023</a:t>
            </a:fld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4E5DDFB-58B0-4544-B4FC-557AAFD532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548581" y="6571519"/>
            <a:ext cx="235418" cy="13849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 rtl="0">
              <a:defRPr sz="900" b="0">
                <a:solidFill>
                  <a:schemeClr val="accent6"/>
                </a:solidFill>
              </a:defRPr>
            </a:lvl1pPr>
          </a:lstStyle>
          <a:p>
            <a:fld id="{BA161025-98FF-4C1D-96AB-5CF6019945B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D809E00-F24B-448E-B92B-299C8F4E1898}"/>
              </a:ext>
            </a:extLst>
          </p:cNvPr>
          <p:cNvCxnSpPr/>
          <p:nvPr userDrawn="1"/>
        </p:nvCxnSpPr>
        <p:spPr>
          <a:xfrm>
            <a:off x="407999" y="6489700"/>
            <a:ext cx="1137600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BE0F7FD8-DC7F-4FE3-842A-FA36627A495A}"/>
              </a:ext>
            </a:extLst>
          </p:cNvPr>
          <p:cNvCxnSpPr/>
          <p:nvPr userDrawn="1"/>
        </p:nvCxnSpPr>
        <p:spPr>
          <a:xfrm>
            <a:off x="407999" y="933725"/>
            <a:ext cx="1137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0523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6" r:id="rId2"/>
    <p:sldLayoutId id="2147483832" r:id="rId3"/>
    <p:sldLayoutId id="2147483799" r:id="rId4"/>
    <p:sldLayoutId id="2147483833" r:id="rId5"/>
    <p:sldLayoutId id="2147483823" r:id="rId6"/>
    <p:sldLayoutId id="2147483834" r:id="rId7"/>
    <p:sldLayoutId id="2147483835" r:id="rId8"/>
    <p:sldLayoutId id="2147483836" r:id="rId9"/>
    <p:sldLayoutId id="2147483837" r:id="rId10"/>
    <p:sldLayoutId id="214748382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+mn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de-DE" sz="1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390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5730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tabLst>
          <a:tab pos="1527175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12900" indent="-182563" algn="l" defTabSz="850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70" userDrawn="1">
          <p15:clr>
            <a:srgbClr val="F26B43"/>
          </p15:clr>
        </p15:guide>
        <p15:guide id="2" pos="255" userDrawn="1">
          <p15:clr>
            <a:srgbClr val="F26B43"/>
          </p15:clr>
        </p15:guide>
        <p15:guide id="3" pos="7424" userDrawn="1">
          <p15:clr>
            <a:srgbClr val="F26B43"/>
          </p15:clr>
        </p15:guide>
        <p15:guide id="4" orient="horz" pos="8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18" Type="http://schemas.openxmlformats.org/officeDocument/2006/relationships/chart" Target="../charts/chart8.xml"/><Relationship Id="rId3" Type="http://schemas.openxmlformats.org/officeDocument/2006/relationships/tags" Target="../tags/tag130.xml"/><Relationship Id="rId21" Type="http://schemas.openxmlformats.org/officeDocument/2006/relationships/image" Target="../media/image12.png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image" Target="../media/image11.emf"/><Relationship Id="rId2" Type="http://schemas.openxmlformats.org/officeDocument/2006/relationships/tags" Target="../tags/tag129.xml"/><Relationship Id="rId16" Type="http://schemas.openxmlformats.org/officeDocument/2006/relationships/oleObject" Target="../embeddings/oleObject22.bin"/><Relationship Id="rId20" Type="http://schemas.openxmlformats.org/officeDocument/2006/relationships/chart" Target="../charts/chart10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5" Type="http://schemas.openxmlformats.org/officeDocument/2006/relationships/slideLayout" Target="../slideLayouts/slideLayout5.xml"/><Relationship Id="rId10" Type="http://schemas.openxmlformats.org/officeDocument/2006/relationships/tags" Target="../tags/tag137.xml"/><Relationship Id="rId19" Type="http://schemas.openxmlformats.org/officeDocument/2006/relationships/chart" Target="../charts/chart9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slideLayout" Target="../slideLayouts/slideLayout5.xml"/><Relationship Id="rId18" Type="http://schemas.openxmlformats.org/officeDocument/2006/relationships/image" Target="../media/image14.png"/><Relationship Id="rId3" Type="http://schemas.openxmlformats.org/officeDocument/2006/relationships/tags" Target="../tags/tag144.xml"/><Relationship Id="rId21" Type="http://schemas.openxmlformats.org/officeDocument/2006/relationships/image" Target="../media/image12.png"/><Relationship Id="rId7" Type="http://schemas.openxmlformats.org/officeDocument/2006/relationships/tags" Target="../tags/tag148.xml"/><Relationship Id="rId12" Type="http://schemas.openxmlformats.org/officeDocument/2006/relationships/tags" Target="../tags/tag153.xml"/><Relationship Id="rId17" Type="http://schemas.openxmlformats.org/officeDocument/2006/relationships/image" Target="../media/image13.png"/><Relationship Id="rId2" Type="http://schemas.openxmlformats.org/officeDocument/2006/relationships/tags" Target="../tags/tag143.xml"/><Relationship Id="rId16" Type="http://schemas.openxmlformats.org/officeDocument/2006/relationships/chart" Target="../charts/chart11.xml"/><Relationship Id="rId20" Type="http://schemas.openxmlformats.org/officeDocument/2006/relationships/image" Target="../media/image16.png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5" Type="http://schemas.openxmlformats.org/officeDocument/2006/relationships/tags" Target="../tags/tag146.xml"/><Relationship Id="rId15" Type="http://schemas.openxmlformats.org/officeDocument/2006/relationships/image" Target="../media/image11.emf"/><Relationship Id="rId10" Type="http://schemas.openxmlformats.org/officeDocument/2006/relationships/tags" Target="../tags/tag151.xml"/><Relationship Id="rId19" Type="http://schemas.openxmlformats.org/officeDocument/2006/relationships/image" Target="../media/image15.png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oleObject" Target="../embeddings/oleObject23.bin"/><Relationship Id="rId22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8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slideLayout" Target="../slideLayouts/slideLayout5.xml"/><Relationship Id="rId17" Type="http://schemas.openxmlformats.org/officeDocument/2006/relationships/chart" Target="../charts/chart1.xml"/><Relationship Id="rId2" Type="http://schemas.openxmlformats.org/officeDocument/2006/relationships/tags" Target="../tags/tag41.xml"/><Relationship Id="rId16" Type="http://schemas.openxmlformats.org/officeDocument/2006/relationships/image" Target="../media/image12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image" Target="../media/image11.emf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oleObject" Target="../embeddings/oleObject1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2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chart" Target="../charts/chart2.xml"/><Relationship Id="rId5" Type="http://schemas.openxmlformats.org/officeDocument/2006/relationships/tags" Target="../tags/tag55.xml"/><Relationship Id="rId10" Type="http://schemas.openxmlformats.org/officeDocument/2006/relationships/image" Target="../media/image1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17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chart" Target="../charts/chart3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1.emf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62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18" Type="http://schemas.openxmlformats.org/officeDocument/2006/relationships/image" Target="../media/image11.emf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oleObject" Target="../embeddings/oleObject19.bin"/><Relationship Id="rId2" Type="http://schemas.openxmlformats.org/officeDocument/2006/relationships/tags" Target="../tags/tag68.xml"/><Relationship Id="rId16" Type="http://schemas.openxmlformats.org/officeDocument/2006/relationships/slideLayout" Target="../slideLayouts/slideLayout5.xml"/><Relationship Id="rId20" Type="http://schemas.openxmlformats.org/officeDocument/2006/relationships/image" Target="../media/image12.png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10" Type="http://schemas.openxmlformats.org/officeDocument/2006/relationships/tags" Target="../tags/tag76.xml"/><Relationship Id="rId19" Type="http://schemas.openxmlformats.org/officeDocument/2006/relationships/chart" Target="../charts/chart4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slideLayout" Target="../slideLayouts/slideLayout5.xml"/><Relationship Id="rId3" Type="http://schemas.openxmlformats.org/officeDocument/2006/relationships/tags" Target="../tags/tag84.xml"/><Relationship Id="rId21" Type="http://schemas.openxmlformats.org/officeDocument/2006/relationships/tags" Target="../tags/tag102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tags" Target="../tags/tag101.xml"/><Relationship Id="rId29" Type="http://schemas.openxmlformats.org/officeDocument/2006/relationships/chart" Target="../charts/chart5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24" Type="http://schemas.openxmlformats.org/officeDocument/2006/relationships/tags" Target="../tags/tag105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image" Target="../media/image11.emf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oleObject" Target="../embeddings/oleObject20.bin"/><Relationship Id="rId30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tags" Target="../tags/tag119.xml"/><Relationship Id="rId18" Type="http://schemas.openxmlformats.org/officeDocument/2006/relationships/tags" Target="../tags/tag124.xml"/><Relationship Id="rId26" Type="http://schemas.openxmlformats.org/officeDocument/2006/relationships/chart" Target="../charts/chart7.xml"/><Relationship Id="rId3" Type="http://schemas.openxmlformats.org/officeDocument/2006/relationships/tags" Target="../tags/tag109.xml"/><Relationship Id="rId21" Type="http://schemas.openxmlformats.org/officeDocument/2006/relationships/tags" Target="../tags/tag127.xml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17" Type="http://schemas.openxmlformats.org/officeDocument/2006/relationships/tags" Target="../tags/tag123.xml"/><Relationship Id="rId25" Type="http://schemas.openxmlformats.org/officeDocument/2006/relationships/chart" Target="../charts/chart6.xml"/><Relationship Id="rId2" Type="http://schemas.openxmlformats.org/officeDocument/2006/relationships/tags" Target="../tags/tag108.xml"/><Relationship Id="rId16" Type="http://schemas.openxmlformats.org/officeDocument/2006/relationships/tags" Target="../tags/tag122.xml"/><Relationship Id="rId20" Type="http://schemas.openxmlformats.org/officeDocument/2006/relationships/tags" Target="../tags/tag126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24" Type="http://schemas.openxmlformats.org/officeDocument/2006/relationships/image" Target="../media/image11.emf"/><Relationship Id="rId5" Type="http://schemas.openxmlformats.org/officeDocument/2006/relationships/tags" Target="../tags/tag111.xml"/><Relationship Id="rId15" Type="http://schemas.openxmlformats.org/officeDocument/2006/relationships/tags" Target="../tags/tag121.xml"/><Relationship Id="rId23" Type="http://schemas.openxmlformats.org/officeDocument/2006/relationships/oleObject" Target="../embeddings/oleObject21.bin"/><Relationship Id="rId10" Type="http://schemas.openxmlformats.org/officeDocument/2006/relationships/tags" Target="../tags/tag116.xml"/><Relationship Id="rId19" Type="http://schemas.openxmlformats.org/officeDocument/2006/relationships/tags" Target="../tags/tag125.xml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tags" Target="../tags/tag120.xml"/><Relationship Id="rId22" Type="http://schemas.openxmlformats.org/officeDocument/2006/relationships/slideLayout" Target="../slideLayouts/slideLayout5.xml"/><Relationship Id="rId27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A3C09DE-94E9-46B1-9FB3-6B9E65ABAC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7874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A3C09DE-94E9-46B1-9FB3-6B9E65ABA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>
            <a:extLst>
              <a:ext uri="{FF2B5EF4-FFF2-40B4-BE49-F238E27FC236}">
                <a16:creationId xmlns:a16="http://schemas.microsoft.com/office/drawing/2014/main" id="{8565F504-103B-4EC9-9880-3C59C77F3D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257" y="1566386"/>
            <a:ext cx="5313444" cy="1366601"/>
          </a:xfrm>
        </p:spPr>
        <p:txBody>
          <a:bodyPr vert="horz"/>
          <a:lstStyle/>
          <a:p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„B&amp;G Display </a:t>
            </a:r>
            <a:r>
              <a:rPr lang="de-DE" dirty="0" err="1"/>
              <a:t>study</a:t>
            </a:r>
            <a:r>
              <a:rPr lang="de-DE" dirty="0"/>
              <a:t> 2023“ </a:t>
            </a:r>
            <a:br>
              <a:rPr lang="de-DE" dirty="0"/>
            </a:br>
            <a:r>
              <a:rPr lang="de-DE" dirty="0" err="1"/>
              <a:t>Retailer</a:t>
            </a:r>
            <a:r>
              <a:rPr lang="de-DE" dirty="0"/>
              <a:t> Interviews S</a:t>
            </a:r>
            <a:br>
              <a:rPr lang="de-DE" dirty="0"/>
            </a:br>
            <a:r>
              <a:rPr lang="de-DE" dirty="0" err="1"/>
              <a:t>Secondary</a:t>
            </a:r>
            <a:r>
              <a:rPr lang="de-DE" dirty="0"/>
              <a:t> Placements in </a:t>
            </a:r>
            <a:r>
              <a:rPr lang="de-DE" dirty="0" err="1"/>
              <a:t>Grocery</a:t>
            </a:r>
            <a:endParaRPr lang="de-DE" dirty="0"/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246D8A78-EFA3-41C4-8294-86039F5B38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98" y="2932988"/>
            <a:ext cx="5065702" cy="276999"/>
          </a:xfrm>
        </p:spPr>
        <p:txBody>
          <a:bodyPr/>
          <a:lstStyle/>
          <a:p>
            <a:endParaRPr lang="de-DE" dirty="0"/>
          </a:p>
          <a:p>
            <a:r>
              <a:rPr lang="de-DE" dirty="0" err="1"/>
              <a:t>Retailer</a:t>
            </a:r>
            <a:r>
              <a:rPr lang="de-DE" dirty="0"/>
              <a:t> </a:t>
            </a:r>
            <a:r>
              <a:rPr lang="de-DE" dirty="0" err="1"/>
              <a:t>Result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F33F481-C39A-40FB-9CB3-8E014393F2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7998" y="3869614"/>
            <a:ext cx="5065702" cy="184666"/>
          </a:xfrm>
        </p:spPr>
        <p:txBody>
          <a:bodyPr/>
          <a:lstStyle/>
          <a:p>
            <a:r>
              <a:rPr lang="de-DE" dirty="0"/>
              <a:t>September 2023</a:t>
            </a:r>
          </a:p>
        </p:txBody>
      </p:sp>
    </p:spTree>
    <p:extLst>
      <p:ext uri="{BB962C8B-B14F-4D97-AF65-F5344CB8AC3E}">
        <p14:creationId xmlns:p14="http://schemas.microsoft.com/office/powerpoint/2010/main" val="4074860120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F76BEA4-0800-4058-BE46-A20300DB9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9107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444" imgH="446" progId="TCLayout.ActiveDocument.1">
                  <p:embed/>
                </p:oleObj>
              </mc:Choice>
              <mc:Fallback>
                <p:oleObj name="think-cell Folie" r:id="rId16" imgW="444" imgH="4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F76BEA4-0800-4058-BE46-A20300DB9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15BCA384-8405-4911-B263-9B8F98A40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8" y="141254"/>
            <a:ext cx="11375999" cy="664797"/>
          </a:xfrm>
        </p:spPr>
        <p:txBody>
          <a:bodyPr vert="horz"/>
          <a:lstStyle/>
          <a:p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Overfill after Price Off at Nr. 2; Multibuy (VMK), add-ons at REWE, </a:t>
            </a:r>
            <a:br>
              <a:rPr lang="en-GB" b="0" i="0" dirty="0">
                <a:solidFill>
                  <a:srgbClr val="374151"/>
                </a:solidFill>
                <a:effectLst/>
                <a:latin typeface="Söhne"/>
              </a:rPr>
            </a:br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other mechanisms 'weaker' (raffle, coupon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3732CC-18C1-4523-AC80-19552F3E7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61025-98FF-4C1D-96AB-5CF6019945B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8" name="Datumsplatzhalter 27">
            <a:extLst>
              <a:ext uri="{FF2B5EF4-FFF2-40B4-BE49-F238E27FC236}">
                <a16:creationId xmlns:a16="http://schemas.microsoft.com/office/drawing/2014/main" id="{42337C87-68B1-4C73-8B87-322AAD83B5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99" y="6562889"/>
            <a:ext cx="694520" cy="138499"/>
          </a:xfrm>
        </p:spPr>
        <p:txBody>
          <a:bodyPr/>
          <a:lstStyle/>
          <a:p>
            <a:fld id="{13CF5F03-E195-47E2-A3BC-136F33F1F7C1}" type="datetime1">
              <a:rPr lang="de-DE" smtClean="0"/>
              <a:t>03.11.2023</a:t>
            </a:fld>
            <a:endParaRPr lang="en-US" dirty="0"/>
          </a:p>
        </p:txBody>
      </p:sp>
      <p:sp>
        <p:nvSpPr>
          <p:cNvPr id="12" name="Fußzeilenplatzhalter 32">
            <a:extLst>
              <a:ext uri="{FF2B5EF4-FFF2-40B4-BE49-F238E27FC236}">
                <a16:creationId xmlns:a16="http://schemas.microsoft.com/office/drawing/2014/main" id="{85548716-BD7C-46E6-8CC3-2F7EAE1DF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0144" y="6571519"/>
            <a:ext cx="7564290" cy="138499"/>
          </a:xfrm>
        </p:spPr>
        <p:txBody>
          <a:bodyPr/>
          <a:lstStyle/>
          <a:p>
            <a:r>
              <a:rPr lang="de-DE"/>
              <a:t>Handelsbefragung Zweitplatzierung / © 2023 Bormann &amp; Gordon GmbH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8188C1F-D51F-211B-40D2-87B2EC3BB1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99" y="977372"/>
            <a:ext cx="11376000" cy="246221"/>
          </a:xfrm>
        </p:spPr>
        <p:txBody>
          <a:bodyPr/>
          <a:lstStyle/>
          <a:p>
            <a:r>
              <a:rPr lang="en-GB" sz="1600" b="0" i="0" dirty="0">
                <a:solidFill>
                  <a:srgbClr val="374151"/>
                </a:solidFill>
                <a:effectLst/>
                <a:latin typeface="Söhne"/>
              </a:rPr>
              <a:t>'How well, in your opinion, do the following promotion mechanisms suit the placement of a display? (On a scale of 1 to 5, where 1 means 'poor' and 5 means 'excellent')</a:t>
            </a:r>
            <a:endParaRPr lang="de-DE" dirty="0"/>
          </a:p>
        </p:txBody>
      </p:sp>
      <p:sp>
        <p:nvSpPr>
          <p:cNvPr id="303" name="Textfeld 302">
            <a:extLst>
              <a:ext uri="{FF2B5EF4-FFF2-40B4-BE49-F238E27FC236}">
                <a16:creationId xmlns:a16="http://schemas.microsoft.com/office/drawing/2014/main" id="{58F47C1F-5578-2BB4-C698-A69F8C7709BE}"/>
              </a:ext>
            </a:extLst>
          </p:cNvPr>
          <p:cNvSpPr txBox="1"/>
          <p:nvPr/>
        </p:nvSpPr>
        <p:spPr>
          <a:xfrm>
            <a:off x="11347450" y="5821151"/>
            <a:ext cx="546100" cy="27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endParaRPr lang="de-DE" sz="1000" dirty="0"/>
          </a:p>
        </p:txBody>
      </p:sp>
      <p:graphicFrame>
        <p:nvGraphicFramePr>
          <p:cNvPr id="35" name="Chart 3">
            <a:extLst>
              <a:ext uri="{FF2B5EF4-FFF2-40B4-BE49-F238E27FC236}">
                <a16:creationId xmlns:a16="http://schemas.microsoft.com/office/drawing/2014/main" id="{A9708D9C-0C2D-42D3-BAAF-9D042FBBAC7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9702971"/>
              </p:ext>
            </p:extLst>
          </p:nvPr>
        </p:nvGraphicFramePr>
        <p:xfrm>
          <a:off x="2239963" y="2152650"/>
          <a:ext cx="1906587" cy="4205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6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34939" y="3586163"/>
            <a:ext cx="2085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 err="1"/>
              <a:t>Multibuy</a:t>
            </a:r>
            <a:endParaRPr lang="de-DE" sz="1200" dirty="0"/>
          </a:p>
        </p:txBody>
      </p:sp>
      <p:sp>
        <p:nvSpPr>
          <p:cNvPr id="31" name="Textplatzhalter 17">
            <a:extLst>
              <a:ext uri="{FF2B5EF4-FFF2-40B4-BE49-F238E27FC236}">
                <a16:creationId xmlns:a16="http://schemas.microsoft.com/office/drawing/2014/main" id="{3A485FA0-8054-4CB1-A4DF-9074508C8A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98450" y="2432050"/>
            <a:ext cx="1922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/>
              <a:t>Price off</a:t>
            </a:r>
            <a:endParaRPr lang="de-DE" sz="1200" dirty="0"/>
          </a:p>
        </p:txBody>
      </p:sp>
      <p:sp>
        <p:nvSpPr>
          <p:cNvPr id="32" name="Textplatzhalter 17">
            <a:extLst>
              <a:ext uri="{FF2B5EF4-FFF2-40B4-BE49-F238E27FC236}">
                <a16:creationId xmlns:a16="http://schemas.microsoft.com/office/drawing/2014/main" id="{05D46E3C-E87F-4455-91D0-349DDB756BD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71501" y="4071938"/>
            <a:ext cx="16494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/>
              <a:t>Additional </a:t>
            </a:r>
            <a:r>
              <a:rPr lang="de-DE" altLang="en-US" sz="1200" dirty="0" err="1"/>
              <a:t>product</a:t>
            </a:r>
            <a:endParaRPr lang="de-DE" sz="1200" dirty="0"/>
          </a:p>
        </p:txBody>
      </p:sp>
      <p:sp>
        <p:nvSpPr>
          <p:cNvPr id="15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7313" y="3009900"/>
            <a:ext cx="2133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 err="1"/>
              <a:t>Overfill</a:t>
            </a:r>
            <a:endParaRPr lang="de-DE" sz="1200" dirty="0"/>
          </a:p>
        </p:txBody>
      </p:sp>
      <p:sp>
        <p:nvSpPr>
          <p:cNvPr id="30" name="Textplatzhalter 17">
            <a:extLst>
              <a:ext uri="{FF2B5EF4-FFF2-40B4-BE49-F238E27FC236}">
                <a16:creationId xmlns:a16="http://schemas.microsoft.com/office/drawing/2014/main" id="{97844598-D893-435C-ABEA-8C316815FD1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52550" y="5318125"/>
            <a:ext cx="868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/>
              <a:t>Raffle</a:t>
            </a:r>
            <a:endParaRPr lang="de-DE" sz="1200" dirty="0"/>
          </a:p>
        </p:txBody>
      </p:sp>
      <p:sp>
        <p:nvSpPr>
          <p:cNvPr id="33" name="Textplatzhalter 17">
            <a:extLst>
              <a:ext uri="{FF2B5EF4-FFF2-40B4-BE49-F238E27FC236}">
                <a16:creationId xmlns:a16="http://schemas.microsoft.com/office/drawing/2014/main" id="{88D0F454-508C-44ED-936D-3A54BA47CDE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01639" y="4648200"/>
            <a:ext cx="18192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 err="1"/>
              <a:t>Retailer</a:t>
            </a:r>
            <a:r>
              <a:rPr lang="de-DE" altLang="en-US" sz="1200" dirty="0"/>
              <a:t> </a:t>
            </a:r>
            <a:r>
              <a:rPr lang="de-DE" altLang="en-US" sz="1200" dirty="0" err="1"/>
              <a:t>exclusive</a:t>
            </a:r>
            <a:r>
              <a:rPr lang="de-DE" altLang="en-US" sz="1200" dirty="0"/>
              <a:t> </a:t>
            </a:r>
            <a:r>
              <a:rPr lang="de-DE" altLang="en-US" sz="1200" dirty="0" err="1"/>
              <a:t>product</a:t>
            </a:r>
            <a:endParaRPr lang="de-DE" sz="1200" dirty="0"/>
          </a:p>
        </p:txBody>
      </p:sp>
      <p:sp>
        <p:nvSpPr>
          <p:cNvPr id="34" name="Textplatzhalter 17">
            <a:extLst>
              <a:ext uri="{FF2B5EF4-FFF2-40B4-BE49-F238E27FC236}">
                <a16:creationId xmlns:a16="http://schemas.microsoft.com/office/drawing/2014/main" id="{860463D3-2F48-44F1-9044-95A406DCD7D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06475" y="5802313"/>
            <a:ext cx="12144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/>
              <a:t>Voucher</a:t>
            </a:r>
            <a:endParaRPr lang="de-DE" sz="12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3A85EDE-30CB-405F-95D0-9657BE5BA72E}"/>
              </a:ext>
            </a:extLst>
          </p:cNvPr>
          <p:cNvSpPr/>
          <p:nvPr/>
        </p:nvSpPr>
        <p:spPr>
          <a:xfrm>
            <a:off x="2162969" y="1707252"/>
            <a:ext cx="17732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Gesamt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BF62825D-DAE3-49D6-9715-D9A2DCB73C64}"/>
              </a:ext>
            </a:extLst>
          </p:cNvPr>
          <p:cNvSpPr/>
          <p:nvPr/>
        </p:nvSpPr>
        <p:spPr>
          <a:xfrm>
            <a:off x="4025900" y="1702363"/>
            <a:ext cx="17732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Edeka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DFDC1041-92F5-4C7D-9897-26E31732D404}"/>
              </a:ext>
            </a:extLst>
          </p:cNvPr>
          <p:cNvSpPr/>
          <p:nvPr/>
        </p:nvSpPr>
        <p:spPr>
          <a:xfrm>
            <a:off x="5776913" y="1725720"/>
            <a:ext cx="17732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WE</a:t>
            </a:r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86F8CB5F-3ECF-4CE3-9655-F2C6262AFA62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51966645"/>
              </p:ext>
            </p:extLst>
          </p:nvPr>
        </p:nvGraphicFramePr>
        <p:xfrm>
          <a:off x="4070350" y="2152650"/>
          <a:ext cx="1706563" cy="4205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584C27EB-4784-405B-9DD6-3830CF2BB02E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98100778"/>
              </p:ext>
            </p:extLst>
          </p:nvPr>
        </p:nvGraphicFramePr>
        <p:xfrm>
          <a:off x="5989638" y="2152650"/>
          <a:ext cx="1706562" cy="4205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CE4EF82C-C673-3EC0-FDA8-83D186D5BDC1}"/>
              </a:ext>
            </a:extLst>
          </p:cNvPr>
          <p:cNvSpPr txBox="1"/>
          <p:nvPr/>
        </p:nvSpPr>
        <p:spPr>
          <a:xfrm>
            <a:off x="9078012" y="5959151"/>
            <a:ext cx="2645785" cy="6037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de-DE" sz="1000" dirty="0"/>
              <a:t>n=100</a:t>
            </a:r>
          </a:p>
          <a:p>
            <a:pPr algn="r"/>
            <a:r>
              <a:rPr lang="de-DE" sz="1000" dirty="0"/>
              <a:t>Edeka n= 51; REWE n=49</a:t>
            </a:r>
            <a:br>
              <a:rPr lang="de-DE" sz="1000" dirty="0"/>
            </a:br>
            <a:r>
              <a:rPr lang="de-DE" sz="1000" dirty="0"/>
              <a:t>VMG n=26; VMK n=74</a:t>
            </a:r>
            <a:br>
              <a:rPr lang="de-DE" sz="1000" dirty="0"/>
            </a:br>
            <a:endParaRPr lang="de-DE" sz="10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7314CA0-882B-3C17-7A98-0B74B1ADE1FC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6556" y="5551704"/>
            <a:ext cx="447241" cy="447241"/>
          </a:xfrm>
          <a:prstGeom prst="rect">
            <a:avLst/>
          </a:prstGeom>
        </p:spPr>
      </p:pic>
      <p:sp>
        <p:nvSpPr>
          <p:cNvPr id="29" name="Rechteck 28">
            <a:extLst>
              <a:ext uri="{FF2B5EF4-FFF2-40B4-BE49-F238E27FC236}">
                <a16:creationId xmlns:a16="http://schemas.microsoft.com/office/drawing/2014/main" id="{B71F8706-17CB-40D2-B4BD-0D13C6E59EC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789863" y="3810000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40" name="Textplatzhalter 17">
            <a:extLst>
              <a:ext uri="{FF2B5EF4-FFF2-40B4-BE49-F238E27FC236}">
                <a16:creationId xmlns:a16="http://schemas.microsoft.com/office/drawing/2014/main" id="{A33A8C37-BD52-4115-A4E9-097173FBEFC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110038" y="1947863"/>
            <a:ext cx="1006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sp>
        <p:nvSpPr>
          <p:cNvPr id="41" name="Textplatzhalter 17">
            <a:extLst>
              <a:ext uri="{FF2B5EF4-FFF2-40B4-BE49-F238E27FC236}">
                <a16:creationId xmlns:a16="http://schemas.microsoft.com/office/drawing/2014/main" id="{FF9E6E50-8274-4E41-BF8E-2C7E6F4906C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091488" y="3797300"/>
            <a:ext cx="1006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% </a:t>
            </a:r>
            <a:r>
              <a:rPr lang="de-DE" altLang="en-US" dirty="0" err="1"/>
              <a:t>of</a:t>
            </a:r>
            <a:r>
              <a:rPr lang="de-DE" altLang="en-US" dirty="0"/>
              <a:t> </a:t>
            </a:r>
            <a:r>
              <a:rPr lang="de-DE" altLang="en-US" dirty="0" err="1"/>
              <a:t>respondents</a:t>
            </a:r>
            <a:r>
              <a:rPr lang="de-DE" altLang="en-US" dirty="0"/>
              <a:t> </a:t>
            </a:r>
            <a:r>
              <a:rPr lang="de-DE" altLang="en-US" dirty="0" err="1"/>
              <a:t>answering</a:t>
            </a:r>
            <a:r>
              <a:rPr lang="de-DE" altLang="en-US" dirty="0"/>
              <a:t> </a:t>
            </a:r>
            <a:r>
              <a:rPr lang="de-DE" altLang="en-US" dirty="0" err="1"/>
              <a:t>with</a:t>
            </a:r>
            <a:r>
              <a:rPr lang="de-DE" altLang="en-US" dirty="0"/>
              <a:t> 5 </a:t>
            </a:r>
            <a:r>
              <a:rPr lang="de-DE" altLang="en-US" dirty="0" err="1"/>
              <a:t>or</a:t>
            </a:r>
            <a:r>
              <a:rPr lang="de-DE" altLang="en-US" dirty="0"/>
              <a:t> 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09813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F76BEA4-0800-4058-BE46-A20300DB9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528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44" imgH="446" progId="TCLayout.ActiveDocument.1">
                  <p:embed/>
                </p:oleObj>
              </mc:Choice>
              <mc:Fallback>
                <p:oleObj name="think-cell Folie" r:id="rId14" imgW="444" imgH="4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F76BEA4-0800-4058-BE46-A20300DB9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15BCA384-8405-4911-B263-9B8F98A40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8" y="141254"/>
            <a:ext cx="11375999" cy="664797"/>
          </a:xfrm>
        </p:spPr>
        <p:txBody>
          <a:bodyPr vert="horz"/>
          <a:lstStyle/>
          <a:p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TOP: Red Bull, Lorenz, Coca-Cola, as well as Funny Frisch and Lindt, are the most attractive secondary placements.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3732CC-18C1-4523-AC80-19552F3E7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61025-98FF-4C1D-96AB-5CF6019945B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8" name="Datumsplatzhalter 27">
            <a:extLst>
              <a:ext uri="{FF2B5EF4-FFF2-40B4-BE49-F238E27FC236}">
                <a16:creationId xmlns:a16="http://schemas.microsoft.com/office/drawing/2014/main" id="{42337C87-68B1-4C73-8B87-322AAD83B5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99" y="6562889"/>
            <a:ext cx="694520" cy="138499"/>
          </a:xfrm>
        </p:spPr>
        <p:txBody>
          <a:bodyPr/>
          <a:lstStyle/>
          <a:p>
            <a:fld id="{13CF5F03-E195-47E2-A3BC-136F33F1F7C1}" type="datetime1">
              <a:rPr lang="de-DE" smtClean="0"/>
              <a:t>03.11.2023</a:t>
            </a:fld>
            <a:endParaRPr lang="en-US" dirty="0"/>
          </a:p>
        </p:txBody>
      </p:sp>
      <p:sp>
        <p:nvSpPr>
          <p:cNvPr id="12" name="Fußzeilenplatzhalter 32">
            <a:extLst>
              <a:ext uri="{FF2B5EF4-FFF2-40B4-BE49-F238E27FC236}">
                <a16:creationId xmlns:a16="http://schemas.microsoft.com/office/drawing/2014/main" id="{85548716-BD7C-46E6-8CC3-2F7EAE1DF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0144" y="6571519"/>
            <a:ext cx="7564290" cy="138499"/>
          </a:xfrm>
        </p:spPr>
        <p:txBody>
          <a:bodyPr/>
          <a:lstStyle/>
          <a:p>
            <a:r>
              <a:rPr lang="de-DE"/>
              <a:t>Handelsbefragung Zweitplatzierung / © 2023 Bormann &amp; Gordon GmbH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8188C1F-D51F-211B-40D2-87B2EC3BB1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99" y="977372"/>
            <a:ext cx="11376000" cy="246221"/>
          </a:xfrm>
        </p:spPr>
        <p:txBody>
          <a:bodyPr/>
          <a:lstStyle/>
          <a:p>
            <a:r>
              <a:rPr lang="de-DE" dirty="0"/>
              <a:t>Most </a:t>
            </a:r>
            <a:r>
              <a:rPr lang="de-DE" dirty="0" err="1"/>
              <a:t>attractive</a:t>
            </a:r>
            <a:r>
              <a:rPr lang="de-DE" dirty="0"/>
              <a:t> </a:t>
            </a:r>
            <a:r>
              <a:rPr lang="de-DE" dirty="0" err="1"/>
              <a:t>secondary</a:t>
            </a:r>
            <a:r>
              <a:rPr lang="de-DE" dirty="0"/>
              <a:t> </a:t>
            </a:r>
            <a:r>
              <a:rPr lang="de-DE" dirty="0" err="1"/>
              <a:t>placement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retailer</a:t>
            </a:r>
            <a:r>
              <a:rPr lang="de-DE" dirty="0"/>
              <a:t> </a:t>
            </a:r>
            <a:r>
              <a:rPr lang="de-DE" dirty="0" err="1"/>
              <a:t>perspective</a:t>
            </a:r>
            <a:r>
              <a:rPr lang="de-DE" dirty="0"/>
              <a:t> </a:t>
            </a:r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7C7B1D97-E514-FC70-2006-F1F746522043}"/>
              </a:ext>
            </a:extLst>
          </p:cNvPr>
          <p:cNvSpPr txBox="1"/>
          <p:nvPr/>
        </p:nvSpPr>
        <p:spPr>
          <a:xfrm>
            <a:off x="491058" y="6133202"/>
            <a:ext cx="8481492" cy="34763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dirty="0">
                <a:solidFill>
                  <a:srgbClr val="374151"/>
                </a:solidFill>
                <a:effectLst/>
                <a:latin typeface="Söhne"/>
              </a:rPr>
              <a:t>Question: 'In your opinion, which manufacturers/brands have the most attractive displays/secondary placements? (List brands, maximum 5 mentions) including reasoning (open-ended response)'</a:t>
            </a:r>
            <a:endParaRPr lang="de-DE" sz="1000" dirty="0"/>
          </a:p>
        </p:txBody>
      </p:sp>
      <p:sp>
        <p:nvSpPr>
          <p:cNvPr id="303" name="Textfeld 302">
            <a:extLst>
              <a:ext uri="{FF2B5EF4-FFF2-40B4-BE49-F238E27FC236}">
                <a16:creationId xmlns:a16="http://schemas.microsoft.com/office/drawing/2014/main" id="{58F47C1F-5578-2BB4-C698-A69F8C7709BE}"/>
              </a:ext>
            </a:extLst>
          </p:cNvPr>
          <p:cNvSpPr txBox="1"/>
          <p:nvPr/>
        </p:nvSpPr>
        <p:spPr>
          <a:xfrm>
            <a:off x="11347450" y="5821151"/>
            <a:ext cx="546100" cy="27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endParaRPr lang="de-DE" sz="1000" dirty="0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BF62825D-DAE3-49D6-9715-D9A2DCB73C64}"/>
              </a:ext>
            </a:extLst>
          </p:cNvPr>
          <p:cNvSpPr/>
          <p:nvPr/>
        </p:nvSpPr>
        <p:spPr>
          <a:xfrm>
            <a:off x="959766" y="1448876"/>
            <a:ext cx="36593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Top </a:t>
            </a:r>
            <a:r>
              <a:rPr lang="de-DE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brands</a:t>
            </a:r>
            <a:r>
              <a: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</a:t>
            </a:r>
            <a:br>
              <a: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</a:br>
            <a:r>
              <a: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(open </a:t>
            </a:r>
            <a:r>
              <a:rPr lang="de-DE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answers</a:t>
            </a:r>
            <a:r>
              <a: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)</a:t>
            </a:r>
          </a:p>
        </p:txBody>
      </p: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FECFFE8C-124E-4F19-A697-F4F3FAEB5D5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8838970"/>
              </p:ext>
            </p:extLst>
          </p:nvPr>
        </p:nvGraphicFramePr>
        <p:xfrm>
          <a:off x="2082800" y="2092325"/>
          <a:ext cx="1706563" cy="408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9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511300" y="2279650"/>
            <a:ext cx="595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6FA2550-84AE-416F-98C0-33DEB0DA6CF4}" type="datetime'''R''''ed'''''''''''' ''''''''''''B''u''''''''''l''l'">
              <a:rPr lang="de-DE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d Bull</a:t>
            </a:fld>
            <a:endParaRPr lang="de-DE" sz="1200" dirty="0"/>
          </a:p>
        </p:txBody>
      </p:sp>
      <p:sp>
        <p:nvSpPr>
          <p:cNvPr id="40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620838" y="2671763"/>
            <a:ext cx="485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862F59D-2312-4849-A9EA-3BF391BD448F}" type="datetime'''''''''''''L''or''''''''''''''''''''''''''''''e''nz'">
              <a:rPr lang="de-DE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orenz</a:t>
            </a:fld>
            <a:endParaRPr lang="de-DE" sz="1200" dirty="0"/>
          </a:p>
        </p:txBody>
      </p:sp>
      <p:sp>
        <p:nvSpPr>
          <p:cNvPr id="41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344613" y="3063875"/>
            <a:ext cx="762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7A82ACD-80C0-4490-A68D-839E67A8C054}" type="datetime'C''''o''''''''c''''''''''''''''a-''''''Col''a'''''''''''''''">
              <a:rPr lang="de-DE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ca-Cola</a:t>
            </a:fld>
            <a:endParaRPr lang="de-DE" sz="1200" dirty="0"/>
          </a:p>
        </p:txBody>
      </p:sp>
      <p:sp>
        <p:nvSpPr>
          <p:cNvPr id="42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96975" y="3455988"/>
            <a:ext cx="9096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1B31951-A584-4243-A6BD-B43799548590}" type="datetime'F''''''''u''''n''''''n''y'''' ''''''F''r''''''''i''s''c''h'">
              <a:rPr lang="de-DE" altLang="en-US" sz="1200" smtClean="0"/>
              <a:pPr/>
              <a:t>Funny Frisch</a:t>
            </a:fld>
            <a:endParaRPr lang="de-DE" sz="1200" dirty="0"/>
          </a:p>
        </p:txBody>
      </p:sp>
      <p:sp>
        <p:nvSpPr>
          <p:cNvPr id="43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749425" y="3848100"/>
            <a:ext cx="3571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F08499E-C0D1-4FFC-A37E-1CF15626F181}" type="datetime'''L''''''''''i''''''''''n''''''''d''''''''''''''t'''''''''''">
              <a:rPr lang="de-DE" altLang="en-US" sz="1200" smtClean="0"/>
              <a:pPr/>
              <a:t>Lindt</a:t>
            </a:fld>
            <a:endParaRPr lang="de-DE" sz="1200" dirty="0"/>
          </a:p>
        </p:txBody>
      </p:sp>
      <p:sp>
        <p:nvSpPr>
          <p:cNvPr id="44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63650" y="4240213"/>
            <a:ext cx="8429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D4E44A2-9D4C-4BC1-A105-18BAC6DEDDD6}" type="datetime'''D''''''''''''''es''p''''e''''r''ado''s'''''''">
              <a:rPr lang="de-DE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esperados</a:t>
            </a:fld>
            <a:endParaRPr lang="de-DE" sz="1200" dirty="0"/>
          </a:p>
        </p:txBody>
      </p:sp>
      <p:sp>
        <p:nvSpPr>
          <p:cNvPr id="45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727200" y="4632325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1466577-5296-4EDC-ACCC-7334E120C60D}" type="datetime'''''''''''''Mi''''''''''''''''l''''''k''''''''''''''''''a'''''">
              <a:rPr lang="de-DE" altLang="en-US" sz="1200" smtClean="0"/>
              <a:pPr/>
              <a:t>Milka</a:t>
            </a:fld>
            <a:endParaRPr lang="de-DE" sz="1200" dirty="0"/>
          </a:p>
        </p:txBody>
      </p:sp>
      <p:sp>
        <p:nvSpPr>
          <p:cNvPr id="46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228725" y="5024438"/>
            <a:ext cx="877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851769C-0643-42F0-93A6-EB7A40E480DB}" type="datetime'''N''i''''''''e''d''e''''''''''r''e''''g''''''g''''''e''r'''">
              <a:rPr lang="de-DE" altLang="en-US" sz="1200" smtClean="0"/>
              <a:pPr/>
              <a:t>Niederegger</a:t>
            </a:fld>
            <a:endParaRPr lang="de-DE" sz="1200" dirty="0"/>
          </a:p>
        </p:txBody>
      </p:sp>
      <p:sp>
        <p:nvSpPr>
          <p:cNvPr id="47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249363" y="5416550"/>
            <a:ext cx="857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477E73-EBC3-41A2-994A-667F66155DBD}" type="datetime'''K''''''''r''''''omb''''''''''''''ache''''''''r'''''''">
              <a:rPr lang="de-DE" altLang="en-US" sz="1200" smtClean="0"/>
              <a:pPr/>
              <a:t>Krombacher</a:t>
            </a:fld>
            <a:endParaRPr lang="de-DE" sz="1200" dirty="0"/>
          </a:p>
        </p:txBody>
      </p:sp>
      <p:sp>
        <p:nvSpPr>
          <p:cNvPr id="38" name="Textplatzhalter 17">
            <a:extLst>
              <a:ext uri="{FF2B5EF4-FFF2-40B4-BE49-F238E27FC236}">
                <a16:creationId xmlns:a16="http://schemas.microsoft.com/office/drawing/2014/main" id="{F0E87D18-02BC-49DA-ABCB-989CB61A288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535113" y="5808663"/>
            <a:ext cx="5715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14FE9F7-CCBA-429D-87A8-706920057548}" type="datetime'F''e''''''''rr''''''''''''e''r''''''''''''''''''o'''''''' '">
              <a:rPr lang="de-DE" altLang="en-US" sz="1200" smtClean="0"/>
              <a:pPr/>
              <a:t>Ferrero </a:t>
            </a:fld>
            <a:endParaRPr lang="de-DE" sz="12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EF66C45-85F4-4A9C-9C57-ED501D5B3550}"/>
              </a:ext>
            </a:extLst>
          </p:cNvPr>
          <p:cNvSpPr/>
          <p:nvPr/>
        </p:nvSpPr>
        <p:spPr>
          <a:xfrm>
            <a:off x="6096000" y="2287439"/>
            <a:ext cx="54172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b="0" i="0" dirty="0">
                <a:solidFill>
                  <a:srgbClr val="374151"/>
                </a:solidFill>
                <a:effectLst/>
                <a:latin typeface="Söhne"/>
              </a:rPr>
              <a:t>Highly visible, easy for both the customer and us, quick sales, ample stock, good margin, and appealing placement</a:t>
            </a:r>
            <a:endParaRPr lang="de-DE" sz="1200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3FDEA52-489C-453D-9838-6A7DF47A2A10}"/>
              </a:ext>
            </a:extLst>
          </p:cNvPr>
          <p:cNvSpPr/>
          <p:nvPr/>
        </p:nvSpPr>
        <p:spPr>
          <a:xfrm>
            <a:off x="6096000" y="3068747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200" b="0" i="0" dirty="0">
                <a:solidFill>
                  <a:srgbClr val="374151"/>
                </a:solidFill>
                <a:effectLst/>
                <a:latin typeface="Söhne"/>
              </a:rPr>
              <a:t>Simple setup, quick shelving, good margin, proper stocking, effective advertising materials, sometimes smaller displays, fast sell-through</a:t>
            </a:r>
            <a:endParaRPr lang="de-DE" sz="1200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7C910BE-CC56-48D2-B1E9-0EE0C0904702}"/>
              </a:ext>
            </a:extLst>
          </p:cNvPr>
          <p:cNvSpPr/>
          <p:nvPr/>
        </p:nvSpPr>
        <p:spPr>
          <a:xfrm>
            <a:off x="6096000" y="3774738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200" b="0" i="0" dirty="0">
                <a:solidFill>
                  <a:srgbClr val="374151"/>
                </a:solidFill>
                <a:effectLst/>
                <a:latin typeface="Söhne"/>
              </a:rPr>
              <a:t>Eye-catching with red </a:t>
            </a:r>
            <a:r>
              <a:rPr lang="en-GB" sz="1200" b="0" i="0" dirty="0" err="1">
                <a:solidFill>
                  <a:srgbClr val="374151"/>
                </a:solidFill>
                <a:effectLst/>
                <a:latin typeface="Söhne"/>
              </a:rPr>
              <a:t>color</a:t>
            </a:r>
            <a:r>
              <a:rPr lang="en-GB" sz="1200" b="0" i="0" dirty="0">
                <a:solidFill>
                  <a:srgbClr val="374151"/>
                </a:solidFill>
                <a:effectLst/>
                <a:latin typeface="Söhne"/>
              </a:rPr>
              <a:t>, popular products, high sales, good impulse buying, sometimes attractive setups with lighting.</a:t>
            </a:r>
            <a:endParaRPr lang="de-DE" sz="1200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7BC13BB5-77AA-479F-A173-A21C8683DE71}"/>
              </a:ext>
            </a:extLst>
          </p:cNvPr>
          <p:cNvSpPr/>
          <p:nvPr/>
        </p:nvSpPr>
        <p:spPr>
          <a:xfrm>
            <a:off x="6096000" y="4374403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200" b="0" i="0" dirty="0">
                <a:solidFill>
                  <a:srgbClr val="374151"/>
                </a:solidFill>
                <a:effectLst/>
                <a:latin typeface="Söhne"/>
              </a:rPr>
              <a:t>Profitable, self-sustaining, fast sell-through, appealing setups, often supplemented with extras like contests</a:t>
            </a:r>
            <a:endParaRPr lang="de-DE" sz="1200" dirty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248B640E-51CB-49EC-97D1-C82D7432025F}"/>
              </a:ext>
            </a:extLst>
          </p:cNvPr>
          <p:cNvSpPr/>
          <p:nvPr/>
        </p:nvSpPr>
        <p:spPr>
          <a:xfrm>
            <a:off x="6096000" y="5127351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200" b="0" i="0" dirty="0">
                <a:solidFill>
                  <a:srgbClr val="374151"/>
                </a:solidFill>
                <a:effectLst/>
                <a:latin typeface="Söhne"/>
              </a:rPr>
              <a:t>Attractive display placements, high-quality, prices directly on the products, good margin, service, credits. New products, good displays with special items</a:t>
            </a:r>
            <a:endParaRPr lang="de-DE" sz="1200" dirty="0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299463E0-1460-48C2-A00C-8508484FC272}"/>
              </a:ext>
            </a:extLst>
          </p:cNvPr>
          <p:cNvSpPr/>
          <p:nvPr/>
        </p:nvSpPr>
        <p:spPr>
          <a:xfrm>
            <a:off x="6777676" y="1492690"/>
            <a:ext cx="36593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Top 5 Marken</a:t>
            </a:r>
            <a:br>
              <a: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</a:br>
            <a:r>
              <a: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Erläuterungen</a:t>
            </a:r>
          </a:p>
        </p:txBody>
      </p:sp>
      <p:pic>
        <p:nvPicPr>
          <p:cNvPr id="61" name="Grafik 1" descr="image002">
            <a:extLst>
              <a:ext uri="{FF2B5EF4-FFF2-40B4-BE49-F238E27FC236}">
                <a16:creationId xmlns:a16="http://schemas.microsoft.com/office/drawing/2014/main" id="{F2D3C391-07AB-4197-9079-39B5B28978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7967" y="2279650"/>
            <a:ext cx="828053" cy="469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66" name="Picture 6" descr="coca-cola-logo auf transparentem hintergrund 14414677 Vektor Kunst bei  Vecteezy">
            <a:extLst>
              <a:ext uri="{FF2B5EF4-FFF2-40B4-BE49-F238E27FC236}">
                <a16:creationId xmlns:a16="http://schemas.microsoft.com/office/drawing/2014/main" id="{9990035B-77CB-4902-AB4D-43AA39A588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462" y="3476802"/>
            <a:ext cx="1057535" cy="1057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8B0A0441-7E17-412F-82DF-9EE9C3489FE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254109" y="4322107"/>
            <a:ext cx="636487" cy="64505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8B716303-2E7F-4A0C-AAD5-65A32AB8A83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231688" y="5057835"/>
            <a:ext cx="816555" cy="582705"/>
          </a:xfrm>
          <a:prstGeom prst="rect">
            <a:avLst/>
          </a:prstGeom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9A1BB2A0-9ABB-4DC8-BC9D-5C2E0D549D62}"/>
              </a:ext>
            </a:extLst>
          </p:cNvPr>
          <p:cNvSpPr txBox="1"/>
          <p:nvPr/>
        </p:nvSpPr>
        <p:spPr>
          <a:xfrm>
            <a:off x="9078012" y="5959151"/>
            <a:ext cx="2645785" cy="6037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de-DE" sz="1000" dirty="0"/>
              <a:t>n=100</a:t>
            </a:r>
            <a:br>
              <a:rPr lang="de-DE" sz="1000" dirty="0"/>
            </a:br>
            <a:r>
              <a:rPr lang="de-DE" sz="1000" dirty="0"/>
              <a:t>Edeka n= 51; REWE n=49</a:t>
            </a:r>
            <a:br>
              <a:rPr lang="de-DE" sz="1000" dirty="0"/>
            </a:br>
            <a:r>
              <a:rPr lang="de-DE" sz="1000" dirty="0"/>
              <a:t>VMG n=26; VMK n=74</a:t>
            </a: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B98F2AD4-4967-4D12-9C44-D9B64B83CB4F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6556" y="5551704"/>
            <a:ext cx="447241" cy="44724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5836AA0-56A6-4921-BA84-88C57ACE9D3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289" y="2915156"/>
            <a:ext cx="1184117" cy="866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3629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E5AEA3A-5159-D3C5-708C-32B9585C1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E5AEA3A-5159-D3C5-708C-32B9585C1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F586B97-09EE-40DB-DA83-EE7B14DC60AC}"/>
              </a:ext>
            </a:extLst>
          </p:cNvPr>
          <p:cNvSpPr>
            <a:spLocks noGrp="1"/>
          </p:cNvSpPr>
          <p:nvPr>
            <p:ph sz="quarter" idx="37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sz="1800" b="1" dirty="0"/>
              <a:t>Methode</a:t>
            </a:r>
            <a:r>
              <a:rPr lang="de-DE" sz="1800" dirty="0"/>
              <a:t>: Face-</a:t>
            </a:r>
            <a:r>
              <a:rPr lang="de-DE" sz="1800" dirty="0" err="1"/>
              <a:t>To</a:t>
            </a:r>
            <a:r>
              <a:rPr lang="de-DE" sz="1800" dirty="0"/>
              <a:t>-Face </a:t>
            </a:r>
            <a:r>
              <a:rPr lang="de-DE" sz="1800" dirty="0" err="1"/>
              <a:t>interviews</a:t>
            </a:r>
            <a:r>
              <a:rPr lang="de-DE" sz="1800" dirty="0"/>
              <a:t>  </a:t>
            </a: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decision</a:t>
            </a:r>
            <a:r>
              <a:rPr lang="de-DE" sz="1800" dirty="0"/>
              <a:t> </a:t>
            </a:r>
            <a:r>
              <a:rPr lang="de-DE" sz="1800" dirty="0" err="1"/>
              <a:t>makers</a:t>
            </a:r>
            <a:r>
              <a:rPr lang="de-DE" sz="1800" dirty="0"/>
              <a:t> in </a:t>
            </a:r>
            <a:r>
              <a:rPr lang="de-DE" sz="1800" dirty="0" err="1"/>
              <a:t>retail</a:t>
            </a:r>
            <a:endParaRPr lang="de-DE" sz="1800" dirty="0"/>
          </a:p>
          <a:p>
            <a:pPr marL="355600" lvl="2" indent="0">
              <a:buNone/>
            </a:pPr>
            <a:br>
              <a:rPr lang="de-DE" sz="1800" dirty="0"/>
            </a:br>
            <a:r>
              <a:rPr lang="de-DE" sz="1800" dirty="0" err="1"/>
              <a:t>Owner</a:t>
            </a:r>
            <a:r>
              <a:rPr lang="de-DE" sz="1800" dirty="0"/>
              <a:t> 30%, </a:t>
            </a:r>
          </a:p>
          <a:p>
            <a:pPr marL="355600" lvl="2" indent="0">
              <a:buNone/>
            </a:pPr>
            <a:r>
              <a:rPr lang="de-DE" sz="1800" dirty="0"/>
              <a:t>Store Manager 51%</a:t>
            </a:r>
          </a:p>
          <a:p>
            <a:pPr marL="355600" lvl="2" indent="0">
              <a:buNone/>
            </a:pPr>
            <a:r>
              <a:rPr lang="de-DE" sz="1800" dirty="0"/>
              <a:t>Department Manager 19%</a:t>
            </a:r>
          </a:p>
          <a:p>
            <a:pPr marL="355600" lvl="2" indent="0">
              <a:buNone/>
            </a:pPr>
            <a:endParaRPr lang="de-DE" sz="1800" dirty="0"/>
          </a:p>
          <a:p>
            <a:pPr marL="342900" indent="-342900">
              <a:buFont typeface="+mj-lt"/>
              <a:buAutoNum type="arabicPeriod"/>
            </a:pPr>
            <a:r>
              <a:rPr lang="de-DE" sz="1800" b="1" dirty="0"/>
              <a:t>Focus: </a:t>
            </a:r>
            <a:r>
              <a:rPr lang="de-DE" sz="1800" b="1" dirty="0" err="1"/>
              <a:t>Secondary</a:t>
            </a:r>
            <a:r>
              <a:rPr lang="de-DE" sz="1800" b="1" dirty="0"/>
              <a:t> </a:t>
            </a:r>
            <a:r>
              <a:rPr lang="de-DE" sz="1800" b="1" dirty="0" err="1"/>
              <a:t>placements</a:t>
            </a:r>
            <a:r>
              <a:rPr lang="de-DE" sz="1800" b="1" dirty="0"/>
              <a:t> </a:t>
            </a:r>
            <a:r>
              <a:rPr lang="de-DE" sz="1800" b="1" dirty="0" err="1"/>
              <a:t>from</a:t>
            </a:r>
            <a:r>
              <a:rPr lang="de-DE" sz="1800" b="1" dirty="0"/>
              <a:t> a </a:t>
            </a:r>
            <a:r>
              <a:rPr lang="de-DE" sz="1800" b="1" dirty="0" err="1"/>
              <a:t>retailer</a:t>
            </a:r>
            <a:r>
              <a:rPr lang="de-DE" sz="1800" b="1" dirty="0"/>
              <a:t> </a:t>
            </a:r>
            <a:r>
              <a:rPr lang="de-DE" sz="1800" b="1" dirty="0" err="1"/>
              <a:t>pov</a:t>
            </a:r>
            <a:endParaRPr lang="de-DE" sz="1800" b="1" dirty="0"/>
          </a:p>
          <a:p>
            <a:pPr marL="342900" indent="-342900">
              <a:buFont typeface="+mj-lt"/>
              <a:buAutoNum type="arabicPeriod"/>
            </a:pPr>
            <a:endParaRPr lang="de-DE" sz="1800" dirty="0"/>
          </a:p>
          <a:p>
            <a:pPr marL="342900" indent="-342900">
              <a:buFont typeface="+mj-lt"/>
              <a:buAutoNum type="arabicPeriod"/>
            </a:pPr>
            <a:r>
              <a:rPr lang="de-DE" sz="1800" b="1" dirty="0"/>
              <a:t>Timing</a:t>
            </a:r>
            <a:r>
              <a:rPr lang="de-DE" sz="1800" dirty="0"/>
              <a:t>: </a:t>
            </a:r>
            <a:r>
              <a:rPr lang="de-DE" sz="1800" dirty="0" err="1"/>
              <a:t>July</a:t>
            </a:r>
            <a:r>
              <a:rPr lang="de-DE" sz="1800" dirty="0"/>
              <a:t> / August 2023</a:t>
            </a:r>
            <a:br>
              <a:rPr lang="de-DE" sz="1800" dirty="0"/>
            </a:br>
            <a:endParaRPr lang="de-DE" sz="1800" dirty="0"/>
          </a:p>
          <a:p>
            <a:pPr marL="342900" indent="-342900">
              <a:buFont typeface="+mj-lt"/>
              <a:buAutoNum type="arabicPeriod"/>
            </a:pPr>
            <a:r>
              <a:rPr lang="de-DE" sz="1800" b="1" dirty="0"/>
              <a:t>Sample: </a:t>
            </a:r>
            <a:br>
              <a:rPr lang="de-DE" sz="1800" dirty="0"/>
            </a:br>
            <a:r>
              <a:rPr lang="de-DE" sz="1800" dirty="0"/>
              <a:t>n=100 Stores</a:t>
            </a:r>
            <a:br>
              <a:rPr lang="de-DE" sz="1800" dirty="0"/>
            </a:br>
            <a:r>
              <a:rPr lang="de-DE" sz="1800" dirty="0"/>
              <a:t>Edeka 51% vs. REWE 49%</a:t>
            </a:r>
            <a:br>
              <a:rPr lang="de-DE" sz="1800" dirty="0"/>
            </a:br>
            <a:r>
              <a:rPr lang="de-DE" sz="1800" dirty="0"/>
              <a:t>VMG 26% </a:t>
            </a:r>
            <a:r>
              <a:rPr lang="de-DE" sz="1800" dirty="0" err="1"/>
              <a:t>vs</a:t>
            </a:r>
            <a:r>
              <a:rPr lang="de-DE" sz="1800" dirty="0"/>
              <a:t> VMK 74%  </a:t>
            </a:r>
          </a:p>
          <a:p>
            <a:pPr marL="0" indent="0">
              <a:buNone/>
            </a:pPr>
            <a:endParaRPr lang="de-DE" sz="1800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C023AA6-8B46-1D69-65C2-5B5A21F7D9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589D597-E463-4988-D47E-717877CC437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A7F0FDE-47AF-47FE-BCA6-F813F278D01A}" type="datetime1">
              <a:rPr lang="de-DE" smtClean="0"/>
              <a:t>03.11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C61B0C-AD4D-D103-3F91-B7887DEC9C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andelsbefragung Zweitplatzierung / © 2023 Bormann &amp; Gordon Gmb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52BF46-3286-52F2-4C13-7AF68F2E6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61025-98FF-4C1D-96AB-5CF6019945BE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ACBC9CD-768F-DD4A-A38D-A67F1E624F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99" y="637975"/>
            <a:ext cx="11376000" cy="246221"/>
          </a:xfrm>
        </p:spPr>
        <p:txBody>
          <a:bodyPr/>
          <a:lstStyle/>
          <a:p>
            <a:r>
              <a:rPr lang="de-DE" dirty="0"/>
              <a:t>Approach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062356F-4B24-E3AA-6F5C-26039AC0D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9" y="262638"/>
            <a:ext cx="11376000" cy="332399"/>
          </a:xfrm>
        </p:spPr>
        <p:txBody>
          <a:bodyPr vert="horz"/>
          <a:lstStyle/>
          <a:p>
            <a:r>
              <a:rPr lang="de-DE" dirty="0" err="1"/>
              <a:t>Retailer</a:t>
            </a:r>
            <a:r>
              <a:rPr lang="de-DE" dirty="0"/>
              <a:t> </a:t>
            </a:r>
            <a:r>
              <a:rPr lang="de-DE" dirty="0" err="1"/>
              <a:t>survey</a:t>
            </a:r>
            <a:r>
              <a:rPr lang="de-DE" dirty="0"/>
              <a:t>  „Edeka &amp; REWE“</a:t>
            </a:r>
          </a:p>
        </p:txBody>
      </p:sp>
      <p:grpSp>
        <p:nvGrpSpPr>
          <p:cNvPr id="14" name="Grafik 13">
            <a:extLst>
              <a:ext uri="{FF2B5EF4-FFF2-40B4-BE49-F238E27FC236}">
                <a16:creationId xmlns:a16="http://schemas.microsoft.com/office/drawing/2014/main" id="{254AB255-4FCC-4221-B980-3A66B11C8D03}"/>
              </a:ext>
            </a:extLst>
          </p:cNvPr>
          <p:cNvGrpSpPr/>
          <p:nvPr/>
        </p:nvGrpSpPr>
        <p:grpSpPr>
          <a:xfrm>
            <a:off x="4512521" y="1846729"/>
            <a:ext cx="839535" cy="949259"/>
            <a:chOff x="8374062" y="3173631"/>
            <a:chExt cx="439102" cy="636270"/>
          </a:xfrm>
          <a:noFill/>
        </p:grpSpPr>
        <p:grpSp>
          <p:nvGrpSpPr>
            <p:cNvPr id="15" name="Grafik 13">
              <a:extLst>
                <a:ext uri="{FF2B5EF4-FFF2-40B4-BE49-F238E27FC236}">
                  <a16:creationId xmlns:a16="http://schemas.microsoft.com/office/drawing/2014/main" id="{D47655A2-1969-4D3E-A781-E14CAB9342B2}"/>
                </a:ext>
              </a:extLst>
            </p:cNvPr>
            <p:cNvGrpSpPr/>
            <p:nvPr/>
          </p:nvGrpSpPr>
          <p:grpSpPr>
            <a:xfrm>
              <a:off x="8374062" y="3173631"/>
              <a:ext cx="438150" cy="359092"/>
              <a:chOff x="8374062" y="3173631"/>
              <a:chExt cx="438150" cy="359092"/>
            </a:xfrm>
            <a:noFill/>
          </p:grpSpPr>
          <p:sp>
            <p:nvSpPr>
              <p:cNvPr id="24" name="Grafik 13">
                <a:extLst>
                  <a:ext uri="{FF2B5EF4-FFF2-40B4-BE49-F238E27FC236}">
                    <a16:creationId xmlns:a16="http://schemas.microsoft.com/office/drawing/2014/main" id="{CDDA5BAE-8CB6-4FFC-8FF3-0AED8DE1C29D}"/>
                  </a:ext>
                </a:extLst>
              </p:cNvPr>
              <p:cNvSpPr/>
              <p:nvPr/>
            </p:nvSpPr>
            <p:spPr>
              <a:xfrm>
                <a:off x="8558846" y="3180298"/>
                <a:ext cx="253365" cy="263842"/>
              </a:xfrm>
              <a:custGeom>
                <a:avLst/>
                <a:gdLst>
                  <a:gd name="connsiteX0" fmla="*/ 102870 w 253365"/>
                  <a:gd name="connsiteY0" fmla="*/ 191453 h 263842"/>
                  <a:gd name="connsiteX1" fmla="*/ 138113 w 253365"/>
                  <a:gd name="connsiteY1" fmla="*/ 191453 h 263842"/>
                  <a:gd name="connsiteX2" fmla="*/ 200978 w 253365"/>
                  <a:gd name="connsiteY2" fmla="*/ 263843 h 263842"/>
                  <a:gd name="connsiteX3" fmla="*/ 200978 w 253365"/>
                  <a:gd name="connsiteY3" fmla="*/ 191453 h 263842"/>
                  <a:gd name="connsiteX4" fmla="*/ 218123 w 253365"/>
                  <a:gd name="connsiteY4" fmla="*/ 191453 h 263842"/>
                  <a:gd name="connsiteX5" fmla="*/ 253365 w 253365"/>
                  <a:gd name="connsiteY5" fmla="*/ 157163 h 263842"/>
                  <a:gd name="connsiteX6" fmla="*/ 253365 w 253365"/>
                  <a:gd name="connsiteY6" fmla="*/ 34290 h 263842"/>
                  <a:gd name="connsiteX7" fmla="*/ 218123 w 253365"/>
                  <a:gd name="connsiteY7" fmla="*/ 0 h 263842"/>
                  <a:gd name="connsiteX8" fmla="*/ 35243 w 253365"/>
                  <a:gd name="connsiteY8" fmla="*/ 0 h 263842"/>
                  <a:gd name="connsiteX9" fmla="*/ 0 w 253365"/>
                  <a:gd name="connsiteY9" fmla="*/ 34290 h 263842"/>
                  <a:gd name="connsiteX10" fmla="*/ 0 w 253365"/>
                  <a:gd name="connsiteY10" fmla="*/ 60960 h 26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3365" h="263842">
                    <a:moveTo>
                      <a:pt x="102870" y="191453"/>
                    </a:moveTo>
                    <a:lnTo>
                      <a:pt x="138113" y="191453"/>
                    </a:lnTo>
                    <a:lnTo>
                      <a:pt x="200978" y="263843"/>
                    </a:lnTo>
                    <a:lnTo>
                      <a:pt x="200978" y="191453"/>
                    </a:lnTo>
                    <a:lnTo>
                      <a:pt x="218123" y="191453"/>
                    </a:lnTo>
                    <a:cubicBezTo>
                      <a:pt x="237173" y="191453"/>
                      <a:pt x="253365" y="176213"/>
                      <a:pt x="253365" y="157163"/>
                    </a:cubicBezTo>
                    <a:lnTo>
                      <a:pt x="253365" y="34290"/>
                    </a:lnTo>
                    <a:cubicBezTo>
                      <a:pt x="253365" y="15240"/>
                      <a:pt x="238125" y="0"/>
                      <a:pt x="218123" y="0"/>
                    </a:cubicBezTo>
                    <a:lnTo>
                      <a:pt x="35243" y="0"/>
                    </a:lnTo>
                    <a:cubicBezTo>
                      <a:pt x="16193" y="0"/>
                      <a:pt x="0" y="15240"/>
                      <a:pt x="0" y="34290"/>
                    </a:cubicBezTo>
                    <a:lnTo>
                      <a:pt x="0" y="6096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ntarell"/>
                  <a:ea typeface="+mn-ea"/>
                  <a:cs typeface="+mn-cs"/>
                </a:endParaRPr>
              </a:p>
            </p:txBody>
          </p:sp>
          <p:sp>
            <p:nvSpPr>
              <p:cNvPr id="25" name="Grafik 13">
                <a:extLst>
                  <a:ext uri="{FF2B5EF4-FFF2-40B4-BE49-F238E27FC236}">
                    <a16:creationId xmlns:a16="http://schemas.microsoft.com/office/drawing/2014/main" id="{014F0747-4513-45F2-940E-401902809C0A}"/>
                  </a:ext>
                </a:extLst>
              </p:cNvPr>
              <p:cNvSpPr/>
              <p:nvPr/>
            </p:nvSpPr>
            <p:spPr>
              <a:xfrm>
                <a:off x="8374062" y="3173631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9525"/>
                </a:pathLst>
              </a:custGeom>
              <a:noFill/>
              <a:ln w="12700" cap="rnd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ntarell"/>
                  <a:ea typeface="+mn-ea"/>
                  <a:cs typeface="+mn-cs"/>
                </a:endParaRPr>
              </a:p>
            </p:txBody>
          </p:sp>
          <p:sp>
            <p:nvSpPr>
              <p:cNvPr id="26" name="Grafik 13">
                <a:extLst>
                  <a:ext uri="{FF2B5EF4-FFF2-40B4-BE49-F238E27FC236}">
                    <a16:creationId xmlns:a16="http://schemas.microsoft.com/office/drawing/2014/main" id="{E12CEADE-021C-406E-833B-778B72955332}"/>
                  </a:ext>
                </a:extLst>
              </p:cNvPr>
              <p:cNvSpPr/>
              <p:nvPr/>
            </p:nvSpPr>
            <p:spPr>
              <a:xfrm>
                <a:off x="8382634" y="3268881"/>
                <a:ext cx="252412" cy="263842"/>
              </a:xfrm>
              <a:custGeom>
                <a:avLst/>
                <a:gdLst>
                  <a:gd name="connsiteX0" fmla="*/ 51435 w 252412"/>
                  <a:gd name="connsiteY0" fmla="*/ 263843 h 263842"/>
                  <a:gd name="connsiteX1" fmla="*/ 51435 w 252412"/>
                  <a:gd name="connsiteY1" fmla="*/ 191453 h 263842"/>
                  <a:gd name="connsiteX2" fmla="*/ 34290 w 252412"/>
                  <a:gd name="connsiteY2" fmla="*/ 191453 h 263842"/>
                  <a:gd name="connsiteX3" fmla="*/ 0 w 252412"/>
                  <a:gd name="connsiteY3" fmla="*/ 157163 h 263842"/>
                  <a:gd name="connsiteX4" fmla="*/ 0 w 252412"/>
                  <a:gd name="connsiteY4" fmla="*/ 34290 h 263842"/>
                  <a:gd name="connsiteX5" fmla="*/ 34290 w 252412"/>
                  <a:gd name="connsiteY5" fmla="*/ 0 h 263842"/>
                  <a:gd name="connsiteX6" fmla="*/ 217170 w 252412"/>
                  <a:gd name="connsiteY6" fmla="*/ 0 h 263842"/>
                  <a:gd name="connsiteX7" fmla="*/ 252413 w 252412"/>
                  <a:gd name="connsiteY7" fmla="*/ 34290 h 263842"/>
                  <a:gd name="connsiteX8" fmla="*/ 252413 w 252412"/>
                  <a:gd name="connsiteY8" fmla="*/ 156210 h 263842"/>
                  <a:gd name="connsiteX9" fmla="*/ 217170 w 252412"/>
                  <a:gd name="connsiteY9" fmla="*/ 190500 h 263842"/>
                  <a:gd name="connsiteX10" fmla="*/ 113348 w 252412"/>
                  <a:gd name="connsiteY10" fmla="*/ 190500 h 263842"/>
                  <a:gd name="connsiteX11" fmla="*/ 51435 w 252412"/>
                  <a:gd name="connsiteY11" fmla="*/ 263843 h 26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2412" h="263842">
                    <a:moveTo>
                      <a:pt x="51435" y="263843"/>
                    </a:moveTo>
                    <a:lnTo>
                      <a:pt x="51435" y="191453"/>
                    </a:lnTo>
                    <a:lnTo>
                      <a:pt x="34290" y="191453"/>
                    </a:lnTo>
                    <a:cubicBezTo>
                      <a:pt x="15240" y="191453"/>
                      <a:pt x="0" y="176213"/>
                      <a:pt x="0" y="157163"/>
                    </a:cubicBezTo>
                    <a:lnTo>
                      <a:pt x="0" y="34290"/>
                    </a:lnTo>
                    <a:cubicBezTo>
                      <a:pt x="0" y="15240"/>
                      <a:pt x="15240" y="0"/>
                      <a:pt x="34290" y="0"/>
                    </a:cubicBezTo>
                    <a:lnTo>
                      <a:pt x="217170" y="0"/>
                    </a:lnTo>
                    <a:cubicBezTo>
                      <a:pt x="236220" y="0"/>
                      <a:pt x="252413" y="15240"/>
                      <a:pt x="252413" y="34290"/>
                    </a:cubicBezTo>
                    <a:lnTo>
                      <a:pt x="252413" y="156210"/>
                    </a:lnTo>
                    <a:cubicBezTo>
                      <a:pt x="252413" y="175260"/>
                      <a:pt x="237173" y="190500"/>
                      <a:pt x="217170" y="190500"/>
                    </a:cubicBezTo>
                    <a:lnTo>
                      <a:pt x="113348" y="190500"/>
                    </a:lnTo>
                    <a:lnTo>
                      <a:pt x="51435" y="263843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accent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ntarell"/>
                  <a:ea typeface="+mn-ea"/>
                  <a:cs typeface="+mn-cs"/>
                </a:endParaRPr>
              </a:p>
            </p:txBody>
          </p:sp>
        </p:grpSp>
        <p:sp>
          <p:nvSpPr>
            <p:cNvPr id="16" name="Grafik 13">
              <a:extLst>
                <a:ext uri="{FF2B5EF4-FFF2-40B4-BE49-F238E27FC236}">
                  <a16:creationId xmlns:a16="http://schemas.microsoft.com/office/drawing/2014/main" id="{B3F7958C-3B0E-401A-8C9F-4632D350BD2E}"/>
                </a:ext>
              </a:extLst>
            </p:cNvPr>
            <p:cNvSpPr/>
            <p:nvPr/>
          </p:nvSpPr>
          <p:spPr>
            <a:xfrm>
              <a:off x="8559799" y="3314601"/>
              <a:ext cx="41909" cy="57149"/>
            </a:xfrm>
            <a:custGeom>
              <a:avLst/>
              <a:gdLst>
                <a:gd name="connsiteX0" fmla="*/ 0 w 41909"/>
                <a:gd name="connsiteY0" fmla="*/ 0 h 57149"/>
                <a:gd name="connsiteX1" fmla="*/ 0 w 41909"/>
                <a:gd name="connsiteY1" fmla="*/ 21908 h 57149"/>
                <a:gd name="connsiteX2" fmla="*/ 35243 w 41909"/>
                <a:gd name="connsiteY2" fmla="*/ 57150 h 57149"/>
                <a:gd name="connsiteX3" fmla="*/ 41910 w 41909"/>
                <a:gd name="connsiteY3" fmla="*/ 57150 h 5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09" h="57149">
                  <a:moveTo>
                    <a:pt x="0" y="0"/>
                  </a:moveTo>
                  <a:lnTo>
                    <a:pt x="0" y="21908"/>
                  </a:lnTo>
                  <a:cubicBezTo>
                    <a:pt x="0" y="40958"/>
                    <a:pt x="15240" y="57150"/>
                    <a:pt x="35243" y="57150"/>
                  </a:cubicBezTo>
                  <a:lnTo>
                    <a:pt x="41910" y="5715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ntarell"/>
                <a:ea typeface="+mn-ea"/>
                <a:cs typeface="+mn-cs"/>
              </a:endParaRPr>
            </a:p>
          </p:txBody>
        </p:sp>
        <p:sp>
          <p:nvSpPr>
            <p:cNvPr id="17" name="Grafik 13">
              <a:extLst>
                <a:ext uri="{FF2B5EF4-FFF2-40B4-BE49-F238E27FC236}">
                  <a16:creationId xmlns:a16="http://schemas.microsoft.com/office/drawing/2014/main" id="{AAE82DD1-98C5-45C9-949A-EE84FFA4641A}"/>
                </a:ext>
              </a:extLst>
            </p:cNvPr>
            <p:cNvSpPr/>
            <p:nvPr/>
          </p:nvSpPr>
          <p:spPr>
            <a:xfrm>
              <a:off x="8547417" y="3528913"/>
              <a:ext cx="99059" cy="99060"/>
            </a:xfrm>
            <a:custGeom>
              <a:avLst/>
              <a:gdLst>
                <a:gd name="connsiteX0" fmla="*/ 99060 w 99059"/>
                <a:gd name="connsiteY0" fmla="*/ 49530 h 99060"/>
                <a:gd name="connsiteX1" fmla="*/ 49530 w 99059"/>
                <a:gd name="connsiteY1" fmla="*/ 99060 h 99060"/>
                <a:gd name="connsiteX2" fmla="*/ 0 w 99059"/>
                <a:gd name="connsiteY2" fmla="*/ 49530 h 99060"/>
                <a:gd name="connsiteX3" fmla="*/ 49530 w 99059"/>
                <a:gd name="connsiteY3" fmla="*/ 0 h 99060"/>
                <a:gd name="connsiteX4" fmla="*/ 99060 w 99059"/>
                <a:gd name="connsiteY4" fmla="*/ 49530 h 9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059" h="99060">
                  <a:moveTo>
                    <a:pt x="99060" y="49530"/>
                  </a:moveTo>
                  <a:cubicBezTo>
                    <a:pt x="99060" y="76885"/>
                    <a:pt x="76885" y="99060"/>
                    <a:pt x="49530" y="99060"/>
                  </a:cubicBezTo>
                  <a:cubicBezTo>
                    <a:pt x="22175" y="99060"/>
                    <a:pt x="0" y="76885"/>
                    <a:pt x="0" y="49530"/>
                  </a:cubicBezTo>
                  <a:cubicBezTo>
                    <a:pt x="0" y="22175"/>
                    <a:pt x="22175" y="0"/>
                    <a:pt x="49530" y="0"/>
                  </a:cubicBezTo>
                  <a:cubicBezTo>
                    <a:pt x="76885" y="0"/>
                    <a:pt x="99060" y="22175"/>
                    <a:pt x="99060" y="4953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ntarell"/>
                <a:ea typeface="+mn-ea"/>
                <a:cs typeface="+mn-cs"/>
              </a:endParaRPr>
            </a:p>
          </p:txBody>
        </p:sp>
        <p:sp>
          <p:nvSpPr>
            <p:cNvPr id="18" name="Grafik 13">
              <a:extLst>
                <a:ext uri="{FF2B5EF4-FFF2-40B4-BE49-F238E27FC236}">
                  <a16:creationId xmlns:a16="http://schemas.microsoft.com/office/drawing/2014/main" id="{4E9AA07B-F8BC-4B6C-9774-69B4D037CC09}"/>
                </a:ext>
              </a:extLst>
            </p:cNvPr>
            <p:cNvSpPr/>
            <p:nvPr/>
          </p:nvSpPr>
          <p:spPr>
            <a:xfrm>
              <a:off x="8519794" y="3667978"/>
              <a:ext cx="126682" cy="141922"/>
            </a:xfrm>
            <a:custGeom>
              <a:avLst/>
              <a:gdLst>
                <a:gd name="connsiteX0" fmla="*/ 0 w 126682"/>
                <a:gd name="connsiteY0" fmla="*/ 141923 h 141922"/>
                <a:gd name="connsiteX1" fmla="*/ 0 w 126682"/>
                <a:gd name="connsiteY1" fmla="*/ 30480 h 141922"/>
                <a:gd name="connsiteX2" fmla="*/ 30480 w 126682"/>
                <a:gd name="connsiteY2" fmla="*/ 0 h 141922"/>
                <a:gd name="connsiteX3" fmla="*/ 126683 w 126682"/>
                <a:gd name="connsiteY3" fmla="*/ 0 h 141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682" h="141922">
                  <a:moveTo>
                    <a:pt x="0" y="141923"/>
                  </a:moveTo>
                  <a:lnTo>
                    <a:pt x="0" y="30480"/>
                  </a:lnTo>
                  <a:cubicBezTo>
                    <a:pt x="0" y="13335"/>
                    <a:pt x="13335" y="0"/>
                    <a:pt x="30480" y="0"/>
                  </a:cubicBezTo>
                  <a:lnTo>
                    <a:pt x="126683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ntarell"/>
                <a:ea typeface="+mn-ea"/>
                <a:cs typeface="+mn-cs"/>
              </a:endParaRPr>
            </a:p>
          </p:txBody>
        </p:sp>
        <p:sp>
          <p:nvSpPr>
            <p:cNvPr id="19" name="Grafik 13">
              <a:extLst>
                <a:ext uri="{FF2B5EF4-FFF2-40B4-BE49-F238E27FC236}">
                  <a16:creationId xmlns:a16="http://schemas.microsoft.com/office/drawing/2014/main" id="{DF64D2A6-A052-4A82-BCC2-C68915B03929}"/>
                </a:ext>
              </a:extLst>
            </p:cNvPr>
            <p:cNvSpPr/>
            <p:nvPr/>
          </p:nvSpPr>
          <p:spPr>
            <a:xfrm>
              <a:off x="8546464" y="3667978"/>
              <a:ext cx="126682" cy="141922"/>
            </a:xfrm>
            <a:custGeom>
              <a:avLst/>
              <a:gdLst>
                <a:gd name="connsiteX0" fmla="*/ 126682 w 126682"/>
                <a:gd name="connsiteY0" fmla="*/ 141923 h 141922"/>
                <a:gd name="connsiteX1" fmla="*/ 126682 w 126682"/>
                <a:gd name="connsiteY1" fmla="*/ 30480 h 141922"/>
                <a:gd name="connsiteX2" fmla="*/ 96203 w 126682"/>
                <a:gd name="connsiteY2" fmla="*/ 0 h 141922"/>
                <a:gd name="connsiteX3" fmla="*/ 0 w 126682"/>
                <a:gd name="connsiteY3" fmla="*/ 0 h 141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682" h="141922">
                  <a:moveTo>
                    <a:pt x="126682" y="141923"/>
                  </a:moveTo>
                  <a:lnTo>
                    <a:pt x="126682" y="30480"/>
                  </a:lnTo>
                  <a:cubicBezTo>
                    <a:pt x="126682" y="13335"/>
                    <a:pt x="113348" y="0"/>
                    <a:pt x="96203" y="0"/>
                  </a:cubicBez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ntarell"/>
                <a:ea typeface="+mn-ea"/>
                <a:cs typeface="+mn-cs"/>
              </a:endParaRPr>
            </a:p>
          </p:txBody>
        </p:sp>
        <p:sp>
          <p:nvSpPr>
            <p:cNvPr id="20" name="Grafik 13">
              <a:extLst>
                <a:ext uri="{FF2B5EF4-FFF2-40B4-BE49-F238E27FC236}">
                  <a16:creationId xmlns:a16="http://schemas.microsoft.com/office/drawing/2014/main" id="{ED631BF2-B7B6-4011-B949-D7FE1B6CA806}"/>
                </a:ext>
              </a:extLst>
            </p:cNvPr>
            <p:cNvSpPr/>
            <p:nvPr/>
          </p:nvSpPr>
          <p:spPr>
            <a:xfrm>
              <a:off x="8716962" y="3724175"/>
              <a:ext cx="96202" cy="85725"/>
            </a:xfrm>
            <a:custGeom>
              <a:avLst/>
              <a:gdLst>
                <a:gd name="connsiteX0" fmla="*/ 96202 w 96202"/>
                <a:gd name="connsiteY0" fmla="*/ 85725 h 85725"/>
                <a:gd name="connsiteX1" fmla="*/ 96202 w 96202"/>
                <a:gd name="connsiteY1" fmla="*/ 30480 h 85725"/>
                <a:gd name="connsiteX2" fmla="*/ 65723 w 96202"/>
                <a:gd name="connsiteY2" fmla="*/ 0 h 85725"/>
                <a:gd name="connsiteX3" fmla="*/ 0 w 96202"/>
                <a:gd name="connsiteY3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02" h="85725">
                  <a:moveTo>
                    <a:pt x="96202" y="85725"/>
                  </a:moveTo>
                  <a:lnTo>
                    <a:pt x="96202" y="30480"/>
                  </a:lnTo>
                  <a:cubicBezTo>
                    <a:pt x="96202" y="13335"/>
                    <a:pt x="82868" y="0"/>
                    <a:pt x="65723" y="0"/>
                  </a:cubicBez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ntarell"/>
                <a:ea typeface="+mn-ea"/>
                <a:cs typeface="+mn-cs"/>
              </a:endParaRPr>
            </a:p>
          </p:txBody>
        </p:sp>
        <p:sp>
          <p:nvSpPr>
            <p:cNvPr id="21" name="Grafik 13">
              <a:extLst>
                <a:ext uri="{FF2B5EF4-FFF2-40B4-BE49-F238E27FC236}">
                  <a16:creationId xmlns:a16="http://schemas.microsoft.com/office/drawing/2014/main" id="{F32D1915-5589-42E6-9B2E-C525C089A171}"/>
                </a:ext>
              </a:extLst>
            </p:cNvPr>
            <p:cNvSpPr/>
            <p:nvPr/>
          </p:nvSpPr>
          <p:spPr>
            <a:xfrm>
              <a:off x="8380729" y="3724175"/>
              <a:ext cx="96202" cy="85725"/>
            </a:xfrm>
            <a:custGeom>
              <a:avLst/>
              <a:gdLst>
                <a:gd name="connsiteX0" fmla="*/ 0 w 96202"/>
                <a:gd name="connsiteY0" fmla="*/ 85725 h 85725"/>
                <a:gd name="connsiteX1" fmla="*/ 0 w 96202"/>
                <a:gd name="connsiteY1" fmla="*/ 30480 h 85725"/>
                <a:gd name="connsiteX2" fmla="*/ 30480 w 96202"/>
                <a:gd name="connsiteY2" fmla="*/ 0 h 85725"/>
                <a:gd name="connsiteX3" fmla="*/ 96203 w 96202"/>
                <a:gd name="connsiteY3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202" h="85725">
                  <a:moveTo>
                    <a:pt x="0" y="85725"/>
                  </a:moveTo>
                  <a:lnTo>
                    <a:pt x="0" y="30480"/>
                  </a:lnTo>
                  <a:cubicBezTo>
                    <a:pt x="0" y="13335"/>
                    <a:pt x="13335" y="0"/>
                    <a:pt x="30480" y="0"/>
                  </a:cubicBezTo>
                  <a:lnTo>
                    <a:pt x="96203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ntarell"/>
                <a:ea typeface="+mn-ea"/>
                <a:cs typeface="+mn-cs"/>
              </a:endParaRPr>
            </a:p>
          </p:txBody>
        </p:sp>
        <p:sp>
          <p:nvSpPr>
            <p:cNvPr id="22" name="Grafik 13">
              <a:extLst>
                <a:ext uri="{FF2B5EF4-FFF2-40B4-BE49-F238E27FC236}">
                  <a16:creationId xmlns:a16="http://schemas.microsoft.com/office/drawing/2014/main" id="{DC6FA43D-1402-48F2-89A1-13716FAA8855}"/>
                </a:ext>
              </a:extLst>
            </p:cNvPr>
            <p:cNvSpPr/>
            <p:nvPr/>
          </p:nvSpPr>
          <p:spPr>
            <a:xfrm>
              <a:off x="8394064" y="3584158"/>
              <a:ext cx="99060" cy="99060"/>
            </a:xfrm>
            <a:custGeom>
              <a:avLst/>
              <a:gdLst>
                <a:gd name="connsiteX0" fmla="*/ 99060 w 99060"/>
                <a:gd name="connsiteY0" fmla="*/ 49530 h 99060"/>
                <a:gd name="connsiteX1" fmla="*/ 49530 w 99060"/>
                <a:gd name="connsiteY1" fmla="*/ 99060 h 99060"/>
                <a:gd name="connsiteX2" fmla="*/ 0 w 99060"/>
                <a:gd name="connsiteY2" fmla="*/ 49530 h 99060"/>
                <a:gd name="connsiteX3" fmla="*/ 49530 w 99060"/>
                <a:gd name="connsiteY3" fmla="*/ 0 h 99060"/>
                <a:gd name="connsiteX4" fmla="*/ 99060 w 99060"/>
                <a:gd name="connsiteY4" fmla="*/ 49530 h 9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060" h="99060">
                  <a:moveTo>
                    <a:pt x="99060" y="49530"/>
                  </a:moveTo>
                  <a:cubicBezTo>
                    <a:pt x="99060" y="76885"/>
                    <a:pt x="76885" y="99060"/>
                    <a:pt x="49530" y="99060"/>
                  </a:cubicBezTo>
                  <a:cubicBezTo>
                    <a:pt x="22175" y="99060"/>
                    <a:pt x="0" y="76885"/>
                    <a:pt x="0" y="49530"/>
                  </a:cubicBezTo>
                  <a:cubicBezTo>
                    <a:pt x="0" y="22175"/>
                    <a:pt x="22175" y="0"/>
                    <a:pt x="49530" y="0"/>
                  </a:cubicBezTo>
                  <a:cubicBezTo>
                    <a:pt x="76885" y="0"/>
                    <a:pt x="99060" y="22175"/>
                    <a:pt x="99060" y="4953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ntarell"/>
                <a:ea typeface="+mn-ea"/>
                <a:cs typeface="+mn-cs"/>
              </a:endParaRPr>
            </a:p>
          </p:txBody>
        </p:sp>
        <p:sp>
          <p:nvSpPr>
            <p:cNvPr id="23" name="Grafik 13">
              <a:extLst>
                <a:ext uri="{FF2B5EF4-FFF2-40B4-BE49-F238E27FC236}">
                  <a16:creationId xmlns:a16="http://schemas.microsoft.com/office/drawing/2014/main" id="{99A1C061-7369-45AA-919C-DB2ED9E5AF4B}"/>
                </a:ext>
              </a:extLst>
            </p:cNvPr>
            <p:cNvSpPr/>
            <p:nvPr/>
          </p:nvSpPr>
          <p:spPr>
            <a:xfrm>
              <a:off x="8700769" y="3584158"/>
              <a:ext cx="99060" cy="99060"/>
            </a:xfrm>
            <a:custGeom>
              <a:avLst/>
              <a:gdLst>
                <a:gd name="connsiteX0" fmla="*/ 99060 w 99060"/>
                <a:gd name="connsiteY0" fmla="*/ 49530 h 99060"/>
                <a:gd name="connsiteX1" fmla="*/ 49530 w 99060"/>
                <a:gd name="connsiteY1" fmla="*/ 99060 h 99060"/>
                <a:gd name="connsiteX2" fmla="*/ 0 w 99060"/>
                <a:gd name="connsiteY2" fmla="*/ 49530 h 99060"/>
                <a:gd name="connsiteX3" fmla="*/ 49530 w 99060"/>
                <a:gd name="connsiteY3" fmla="*/ 0 h 99060"/>
                <a:gd name="connsiteX4" fmla="*/ 99060 w 99060"/>
                <a:gd name="connsiteY4" fmla="*/ 49530 h 9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060" h="99060">
                  <a:moveTo>
                    <a:pt x="99060" y="49530"/>
                  </a:moveTo>
                  <a:cubicBezTo>
                    <a:pt x="99060" y="76885"/>
                    <a:pt x="76885" y="99060"/>
                    <a:pt x="49530" y="99060"/>
                  </a:cubicBezTo>
                  <a:cubicBezTo>
                    <a:pt x="22175" y="99060"/>
                    <a:pt x="0" y="76885"/>
                    <a:pt x="0" y="49530"/>
                  </a:cubicBezTo>
                  <a:cubicBezTo>
                    <a:pt x="0" y="22175"/>
                    <a:pt x="22175" y="0"/>
                    <a:pt x="49530" y="0"/>
                  </a:cubicBezTo>
                  <a:cubicBezTo>
                    <a:pt x="76885" y="0"/>
                    <a:pt x="99060" y="22175"/>
                    <a:pt x="99060" y="4953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ntarell"/>
                <a:ea typeface="+mn-ea"/>
                <a:cs typeface="+mn-cs"/>
              </a:endParaRPr>
            </a:p>
          </p:txBody>
        </p:sp>
      </p:grpSp>
      <p:pic>
        <p:nvPicPr>
          <p:cNvPr id="28" name="Grafik 27">
            <a:extLst>
              <a:ext uri="{FF2B5EF4-FFF2-40B4-BE49-F238E27FC236}">
                <a16:creationId xmlns:a16="http://schemas.microsoft.com/office/drawing/2014/main" id="{CD0765C9-3017-4C8F-B047-3A4C30DA07A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7920" y="3990690"/>
            <a:ext cx="1833144" cy="2113250"/>
          </a:xfrm>
          <a:prstGeom prst="rect">
            <a:avLst/>
          </a:prstGeom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B455A89B-FEEF-4903-AC2C-47196BDF91A6}"/>
              </a:ext>
            </a:extLst>
          </p:cNvPr>
          <p:cNvSpPr/>
          <p:nvPr/>
        </p:nvSpPr>
        <p:spPr>
          <a:xfrm>
            <a:off x="8528606" y="1582494"/>
            <a:ext cx="3422935" cy="45214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r>
              <a:rPr lang="de-DE" sz="1300" b="1" u="sng" dirty="0">
                <a:solidFill>
                  <a:schemeClr val="bg1"/>
                </a:solidFill>
              </a:rPr>
              <a:t>Questions: </a:t>
            </a:r>
          </a:p>
          <a:p>
            <a:pPr marL="171450" indent="-171450" algn="ctr">
              <a:spcBef>
                <a:spcPts val="600"/>
              </a:spcBef>
              <a:buFontTx/>
              <a:buChar char="-"/>
            </a:pPr>
            <a:r>
              <a:rPr lang="en-GB" sz="1300" dirty="0">
                <a:solidFill>
                  <a:schemeClr val="bg1"/>
                </a:solidFill>
              </a:rPr>
              <a:t>Importance of various types of secondary placements for the retailer</a:t>
            </a:r>
          </a:p>
          <a:p>
            <a:pPr marL="171450" indent="-171450" algn="ctr">
              <a:spcBef>
                <a:spcPts val="600"/>
              </a:spcBef>
              <a:buFontTx/>
              <a:buChar char="-"/>
            </a:pPr>
            <a:r>
              <a:rPr lang="en-GB" sz="1300" dirty="0">
                <a:solidFill>
                  <a:schemeClr val="bg1"/>
                </a:solidFill>
              </a:rPr>
              <a:t>Significance of agreements for secondary placements </a:t>
            </a:r>
          </a:p>
          <a:p>
            <a:pPr marL="171450" indent="-171450" algn="ctr">
              <a:spcBef>
                <a:spcPts val="600"/>
              </a:spcBef>
              <a:buFontTx/>
              <a:buChar char="-"/>
            </a:pPr>
            <a:r>
              <a:rPr lang="en-GB" sz="1300" dirty="0">
                <a:solidFill>
                  <a:schemeClr val="bg1"/>
                </a:solidFill>
              </a:rPr>
              <a:t>Criteria for allocating secondary placement spaces </a:t>
            </a:r>
          </a:p>
          <a:p>
            <a:pPr marL="171450" indent="-171450" algn="ctr">
              <a:spcBef>
                <a:spcPts val="600"/>
              </a:spcBef>
              <a:buFontTx/>
              <a:buChar char="-"/>
            </a:pPr>
            <a:r>
              <a:rPr lang="en-GB" sz="1300" dirty="0">
                <a:solidFill>
                  <a:schemeClr val="bg1"/>
                </a:solidFill>
              </a:rPr>
              <a:t>Preferences for display content </a:t>
            </a:r>
          </a:p>
          <a:p>
            <a:pPr marL="171450" indent="-171450" algn="ctr">
              <a:spcBef>
                <a:spcPts val="600"/>
              </a:spcBef>
              <a:buFontTx/>
              <a:buChar char="-"/>
            </a:pPr>
            <a:r>
              <a:rPr lang="en-GB" sz="1300" dirty="0">
                <a:solidFill>
                  <a:schemeClr val="bg1"/>
                </a:solidFill>
              </a:rPr>
              <a:t>Aspects for display decision-making in retail </a:t>
            </a:r>
          </a:p>
          <a:p>
            <a:pPr marL="171450" indent="-171450" algn="ctr">
              <a:spcBef>
                <a:spcPts val="600"/>
              </a:spcBef>
              <a:buFontTx/>
              <a:buChar char="-"/>
            </a:pPr>
            <a:r>
              <a:rPr lang="en-GB" sz="1300" dirty="0">
                <a:solidFill>
                  <a:schemeClr val="bg1"/>
                </a:solidFill>
              </a:rPr>
              <a:t>Evaluation of the sustainability vs. attractive advertising materials conflict </a:t>
            </a:r>
          </a:p>
          <a:p>
            <a:pPr marL="171450" indent="-171450" algn="ctr">
              <a:spcBef>
                <a:spcPts val="600"/>
              </a:spcBef>
              <a:buFontTx/>
              <a:buChar char="-"/>
            </a:pPr>
            <a:r>
              <a:rPr lang="en-GB" sz="1300" dirty="0">
                <a:solidFill>
                  <a:schemeClr val="bg1"/>
                </a:solidFill>
              </a:rPr>
              <a:t>Importance of displays for selected categories including reasoning </a:t>
            </a:r>
          </a:p>
          <a:p>
            <a:pPr marL="171450" indent="-171450" algn="ctr">
              <a:spcBef>
                <a:spcPts val="600"/>
              </a:spcBef>
              <a:buFontTx/>
              <a:buChar char="-"/>
            </a:pPr>
            <a:r>
              <a:rPr lang="en-GB" sz="1300" dirty="0">
                <a:solidFill>
                  <a:schemeClr val="bg1"/>
                </a:solidFill>
              </a:rPr>
              <a:t>Manufacturers/brands with the most attractive displays/secondary placements </a:t>
            </a:r>
          </a:p>
          <a:p>
            <a:pPr marL="171450" indent="-171450" algn="ctr">
              <a:spcBef>
                <a:spcPts val="600"/>
              </a:spcBef>
              <a:buFontTx/>
              <a:buChar char="-"/>
            </a:pPr>
            <a:r>
              <a:rPr lang="en-GB" sz="1300" dirty="0">
                <a:solidFill>
                  <a:schemeClr val="bg1"/>
                </a:solidFill>
              </a:rPr>
              <a:t>Relevance of national activation vs. Key Innovation Points (KIP</a:t>
            </a:r>
            <a:endParaRPr lang="de-DE" sz="1300" dirty="0">
              <a:solidFill>
                <a:schemeClr val="bg1"/>
              </a:solidFill>
            </a:endParaRP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065C574C-C733-462F-A743-939596EE592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254"/>
          <a:stretch/>
        </p:blipFill>
        <p:spPr>
          <a:xfrm>
            <a:off x="6831016" y="1582494"/>
            <a:ext cx="1519122" cy="171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5099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89CCA50F-637C-4366-B9EF-A81D58A98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89CCA50F-637C-4366-B9EF-A81D58A98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26F94ED-D6CE-44C1-B992-1C1310EF7C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4564" y="2984904"/>
            <a:ext cx="872436" cy="872824"/>
          </a:xfrm>
        </p:spPr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501640D-750C-4B14-B8B6-846056424AF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592166" y="3236652"/>
            <a:ext cx="3645659" cy="369332"/>
          </a:xfrm>
        </p:spPr>
        <p:txBody>
          <a:bodyPr/>
          <a:lstStyle/>
          <a:p>
            <a:r>
              <a:rPr lang="de-DE" dirty="0" err="1"/>
              <a:t>Result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84E47DA-F6D2-5792-8A32-E04C2F9A7C8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„</a:t>
            </a:r>
            <a:r>
              <a:rPr lang="de-DE" dirty="0" err="1"/>
              <a:t>Retailer</a:t>
            </a:r>
            <a:r>
              <a:rPr lang="de-DE" dirty="0"/>
              <a:t> </a:t>
            </a:r>
            <a:r>
              <a:rPr lang="de-DE" dirty="0" err="1"/>
              <a:t>survey</a:t>
            </a:r>
            <a:r>
              <a:rPr lang="de-DE" dirty="0"/>
              <a:t> </a:t>
            </a:r>
          </a:p>
          <a:p>
            <a:r>
              <a:rPr lang="de-DE" dirty="0" err="1"/>
              <a:t>secondary</a:t>
            </a:r>
            <a:r>
              <a:rPr lang="de-DE" dirty="0"/>
              <a:t> </a:t>
            </a:r>
            <a:r>
              <a:rPr lang="de-DE" dirty="0" err="1"/>
              <a:t>placement</a:t>
            </a:r>
            <a:r>
              <a:rPr lang="de-DE" dirty="0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7284719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F76BEA4-0800-4058-BE46-A20300DB9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3611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44" imgH="446" progId="TCLayout.ActiveDocument.1">
                  <p:embed/>
                </p:oleObj>
              </mc:Choice>
              <mc:Fallback>
                <p:oleObj name="think-cell Folie" r:id="rId14" imgW="444" imgH="4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F76BEA4-0800-4058-BE46-A20300DB9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15BCA384-8405-4911-B263-9B8F98A40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8" y="141254"/>
            <a:ext cx="11375999" cy="664797"/>
          </a:xfrm>
        </p:spPr>
        <p:txBody>
          <a:bodyPr vert="horz"/>
          <a:lstStyle/>
          <a:p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Secondary placements/industry displays more important than pallets and store </a:t>
            </a:r>
            <a:br>
              <a:rPr lang="en-GB" b="0" i="0" dirty="0">
                <a:solidFill>
                  <a:srgbClr val="374151"/>
                </a:solidFill>
                <a:effectLst/>
                <a:latin typeface="Söhne"/>
              </a:rPr>
            </a:br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furniture; enduring secondary placements also relevan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3732CC-18C1-4523-AC80-19552F3E7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61025-98FF-4C1D-96AB-5CF6019945B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8" name="Datumsplatzhalter 27">
            <a:extLst>
              <a:ext uri="{FF2B5EF4-FFF2-40B4-BE49-F238E27FC236}">
                <a16:creationId xmlns:a16="http://schemas.microsoft.com/office/drawing/2014/main" id="{42337C87-68B1-4C73-8B87-322AAD83B5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99" y="6562889"/>
            <a:ext cx="694520" cy="138499"/>
          </a:xfrm>
        </p:spPr>
        <p:txBody>
          <a:bodyPr/>
          <a:lstStyle/>
          <a:p>
            <a:fld id="{13CF5F03-E195-47E2-A3BC-136F33F1F7C1}" type="datetime1">
              <a:rPr lang="de-DE" smtClean="0"/>
              <a:t>03.11.2023</a:t>
            </a:fld>
            <a:endParaRPr lang="en-US" dirty="0"/>
          </a:p>
        </p:txBody>
      </p:sp>
      <p:sp>
        <p:nvSpPr>
          <p:cNvPr id="12" name="Fußzeilenplatzhalter 32">
            <a:extLst>
              <a:ext uri="{FF2B5EF4-FFF2-40B4-BE49-F238E27FC236}">
                <a16:creationId xmlns:a16="http://schemas.microsoft.com/office/drawing/2014/main" id="{85548716-BD7C-46E6-8CC3-2F7EAE1DF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0144" y="6571519"/>
            <a:ext cx="7564290" cy="138499"/>
          </a:xfrm>
        </p:spPr>
        <p:txBody>
          <a:bodyPr/>
          <a:lstStyle/>
          <a:p>
            <a:r>
              <a:rPr lang="de-DE"/>
              <a:t>Handelsbefragung Zweitplatzierung / © 2023 Bormann &amp; Gordon GmbH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8188C1F-D51F-211B-40D2-87B2EC3BB1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7797" y="1139916"/>
            <a:ext cx="11376000" cy="246221"/>
          </a:xfrm>
        </p:spPr>
        <p:txBody>
          <a:bodyPr/>
          <a:lstStyle/>
          <a:p>
            <a:r>
              <a:rPr lang="en-GB" sz="1600" b="0" i="0" dirty="0">
                <a:solidFill>
                  <a:srgbClr val="374151"/>
                </a:solidFill>
                <a:effectLst/>
                <a:latin typeface="Söhne"/>
              </a:rPr>
              <a:t>In your opinion, how important are the following types of secondary placements for your market? (On a scale of 1 to 5, where 1 means 'unimportant' and 5 means 'very important')</a:t>
            </a:r>
            <a:endParaRPr lang="de-DE" dirty="0"/>
          </a:p>
        </p:txBody>
      </p:sp>
      <p:sp>
        <p:nvSpPr>
          <p:cNvPr id="303" name="Textfeld 302">
            <a:extLst>
              <a:ext uri="{FF2B5EF4-FFF2-40B4-BE49-F238E27FC236}">
                <a16:creationId xmlns:a16="http://schemas.microsoft.com/office/drawing/2014/main" id="{58F47C1F-5578-2BB4-C698-A69F8C7709BE}"/>
              </a:ext>
            </a:extLst>
          </p:cNvPr>
          <p:cNvSpPr txBox="1"/>
          <p:nvPr/>
        </p:nvSpPr>
        <p:spPr>
          <a:xfrm>
            <a:off x="11224030" y="5821151"/>
            <a:ext cx="545834" cy="27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endParaRPr lang="de-DE" sz="1000" dirty="0"/>
          </a:p>
        </p:txBody>
      </p:sp>
      <p:sp>
        <p:nvSpPr>
          <p:cNvPr id="305" name="Textfeld 304">
            <a:extLst>
              <a:ext uri="{FF2B5EF4-FFF2-40B4-BE49-F238E27FC236}">
                <a16:creationId xmlns:a16="http://schemas.microsoft.com/office/drawing/2014/main" id="{4657BAEA-37CC-8859-9E43-BD056F0ED94F}"/>
              </a:ext>
            </a:extLst>
          </p:cNvPr>
          <p:cNvSpPr txBox="1"/>
          <p:nvPr/>
        </p:nvSpPr>
        <p:spPr>
          <a:xfrm>
            <a:off x="9078012" y="5959151"/>
            <a:ext cx="2645785" cy="6037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de-DE" sz="1000" dirty="0"/>
              <a:t>n=100</a:t>
            </a:r>
            <a:br>
              <a:rPr lang="de-DE" sz="1000" dirty="0"/>
            </a:br>
            <a:r>
              <a:rPr lang="de-DE" sz="1000" dirty="0"/>
              <a:t>Edeka n= 51; REWE n=49</a:t>
            </a:r>
            <a:br>
              <a:rPr lang="de-DE" sz="1000" dirty="0"/>
            </a:br>
            <a:r>
              <a:rPr lang="de-DE" sz="1000" dirty="0"/>
              <a:t>VMG n=26; VMK n=74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D6BD8A6-7F35-0C84-5F6F-FD9B263A045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6556" y="5551704"/>
            <a:ext cx="447241" cy="447241"/>
          </a:xfrm>
          <a:prstGeom prst="rect">
            <a:avLst/>
          </a:prstGeom>
        </p:spPr>
      </p:pic>
      <p:graphicFrame>
        <p:nvGraphicFramePr>
          <p:cNvPr id="131" name="Chart 3">
            <a:extLst>
              <a:ext uri="{FF2B5EF4-FFF2-40B4-BE49-F238E27FC236}">
                <a16:creationId xmlns:a16="http://schemas.microsoft.com/office/drawing/2014/main" id="{9F1B3AFC-73D2-456E-A68D-771CF536827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297978"/>
              </p:ext>
            </p:extLst>
          </p:nvPr>
        </p:nvGraphicFramePr>
        <p:xfrm>
          <a:off x="3806825" y="2332038"/>
          <a:ext cx="4057650" cy="4071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71" name="Textplatzhalter 17">
            <a:extLst>
              <a:ext uri="{FF2B5EF4-FFF2-40B4-BE49-F238E27FC236}">
                <a16:creationId xmlns:a16="http://schemas.microsoft.com/office/drawing/2014/main" id="{304F432B-4865-43B8-A5DC-0203054C8D6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477963" y="2587625"/>
            <a:ext cx="2293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SP in </a:t>
            </a:r>
            <a:r>
              <a:rPr lang="de-DE" altLang="en-US" dirty="0" err="1"/>
              <a:t>general</a:t>
            </a:r>
            <a:endParaRPr lang="de-DE" dirty="0"/>
          </a:p>
        </p:txBody>
      </p:sp>
      <p:sp>
        <p:nvSpPr>
          <p:cNvPr id="76" name="Textplatzhalter 17">
            <a:extLst>
              <a:ext uri="{FF2B5EF4-FFF2-40B4-BE49-F238E27FC236}">
                <a16:creationId xmlns:a16="http://schemas.microsoft.com/office/drawing/2014/main" id="{AE5C63B3-CD31-4B33-8D0C-FEABBA46EEF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73313" y="3144838"/>
            <a:ext cx="1398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 Industry </a:t>
            </a:r>
            <a:r>
              <a:rPr lang="de-DE" altLang="en-US" dirty="0" err="1"/>
              <a:t>displays</a:t>
            </a:r>
            <a:endParaRPr lang="de-DE" dirty="0"/>
          </a:p>
        </p:txBody>
      </p:sp>
      <p:sp>
        <p:nvSpPr>
          <p:cNvPr id="74" name="Textplatzhalter 17">
            <a:extLst>
              <a:ext uri="{FF2B5EF4-FFF2-40B4-BE49-F238E27FC236}">
                <a16:creationId xmlns:a16="http://schemas.microsoft.com/office/drawing/2014/main" id="{D02492D4-41C2-4950-9F56-9ADEC36142D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15988" y="4819650"/>
            <a:ext cx="285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 err="1"/>
              <a:t>Enduring</a:t>
            </a:r>
            <a:r>
              <a:rPr lang="de-DE" altLang="en-US" dirty="0"/>
              <a:t> SP</a:t>
            </a:r>
            <a:endParaRPr lang="de-DE" dirty="0"/>
          </a:p>
        </p:txBody>
      </p:sp>
      <p:sp>
        <p:nvSpPr>
          <p:cNvPr id="75" name="Textplatzhalter 17">
            <a:extLst>
              <a:ext uri="{FF2B5EF4-FFF2-40B4-BE49-F238E27FC236}">
                <a16:creationId xmlns:a16="http://schemas.microsoft.com/office/drawing/2014/main" id="{698D0C7E-CB6B-4C94-A3E6-96225622158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38200" y="3703638"/>
            <a:ext cx="2933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Pallets</a:t>
            </a:r>
            <a:endParaRPr lang="de-DE" dirty="0"/>
          </a:p>
        </p:txBody>
      </p:sp>
      <p:sp>
        <p:nvSpPr>
          <p:cNvPr id="70" name="Textplatzhalter 17">
            <a:extLst>
              <a:ext uri="{FF2B5EF4-FFF2-40B4-BE49-F238E27FC236}">
                <a16:creationId xmlns:a16="http://schemas.microsoft.com/office/drawing/2014/main" id="{AEADCABA-F661-4C1D-AFE9-7840C99C554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73163" y="4260850"/>
            <a:ext cx="2598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Own </a:t>
            </a:r>
            <a:r>
              <a:rPr lang="de-DE" altLang="en-US" dirty="0" err="1"/>
              <a:t>store</a:t>
            </a:r>
            <a:r>
              <a:rPr lang="de-DE" altLang="en-US" dirty="0"/>
              <a:t> </a:t>
            </a:r>
            <a:r>
              <a:rPr lang="de-DE" altLang="en-US" dirty="0" err="1"/>
              <a:t>furniture</a:t>
            </a:r>
            <a:r>
              <a:rPr lang="de-DE" altLang="en-US" dirty="0"/>
              <a:t> </a:t>
            </a:r>
            <a:endParaRPr lang="de-DE" dirty="0"/>
          </a:p>
        </p:txBody>
      </p:sp>
      <p:sp>
        <p:nvSpPr>
          <p:cNvPr id="72" name="Textplatzhalter 17">
            <a:extLst>
              <a:ext uri="{FF2B5EF4-FFF2-40B4-BE49-F238E27FC236}">
                <a16:creationId xmlns:a16="http://schemas.microsoft.com/office/drawing/2014/main" id="{A22D7610-AA32-4758-8D22-C516BE804B7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47663" y="5376863"/>
            <a:ext cx="3424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dirty="0"/>
              <a:t>Display with 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dirty="0"/>
              <a:t>Standee for in-store contest/game </a:t>
            </a:r>
            <a:endParaRPr lang="de-DE" dirty="0"/>
          </a:p>
        </p:txBody>
      </p:sp>
      <p:sp>
        <p:nvSpPr>
          <p:cNvPr id="77" name="Textplatzhalter 17">
            <a:extLst>
              <a:ext uri="{FF2B5EF4-FFF2-40B4-BE49-F238E27FC236}">
                <a16:creationId xmlns:a16="http://schemas.microsoft.com/office/drawing/2014/main" id="{8E241FA8-A4F6-49A8-8E05-642BC633217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82588" y="5935663"/>
            <a:ext cx="3389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dirty="0"/>
              <a:t>Display (DP) with 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dirty="0"/>
              <a:t>Standee for in-store purchase incentive</a:t>
            </a:r>
            <a:endParaRPr lang="de-DE" dirty="0"/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ACCEFE8C-23BF-4C9B-9213-4F4D056DC405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960813" y="2019300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88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262438" y="2014538"/>
            <a:ext cx="1006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% </a:t>
            </a:r>
            <a:r>
              <a:rPr lang="de-DE" altLang="en-US" dirty="0" err="1"/>
              <a:t>of</a:t>
            </a:r>
            <a:r>
              <a:rPr lang="de-DE" altLang="en-US" dirty="0"/>
              <a:t> </a:t>
            </a:r>
            <a:r>
              <a:rPr lang="de-DE" altLang="en-US" dirty="0" err="1"/>
              <a:t>respondents</a:t>
            </a:r>
            <a:r>
              <a:rPr lang="de-DE" altLang="en-US" dirty="0"/>
              <a:t> </a:t>
            </a:r>
            <a:r>
              <a:rPr lang="de-DE" altLang="en-US" dirty="0" err="1"/>
              <a:t>answering</a:t>
            </a:r>
            <a:r>
              <a:rPr lang="de-DE" altLang="en-US" dirty="0"/>
              <a:t> 5 </a:t>
            </a:r>
            <a:r>
              <a:rPr lang="de-DE" altLang="en-US" dirty="0" err="1"/>
              <a:t>or</a:t>
            </a:r>
            <a:r>
              <a:rPr lang="de-DE" altLang="en-US" dirty="0"/>
              <a:t> 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59483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F76BEA4-0800-4058-BE46-A20300DB9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0399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444" imgH="446" progId="TCLayout.ActiveDocument.1">
                  <p:embed/>
                </p:oleObj>
              </mc:Choice>
              <mc:Fallback>
                <p:oleObj name="think-cell Folie" r:id="rId9" imgW="444" imgH="4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F76BEA4-0800-4058-BE46-A20300DB9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15BCA384-8405-4911-B263-9B8F98A40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8" y="141254"/>
            <a:ext cx="11375999" cy="664797"/>
          </a:xfrm>
        </p:spPr>
        <p:txBody>
          <a:bodyPr vert="horz"/>
          <a:lstStyle/>
          <a:p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Retailers already tapping into secondary placement potential effectively </a:t>
            </a:r>
            <a:br>
              <a:rPr lang="en-GB" b="0" i="0" dirty="0">
                <a:solidFill>
                  <a:srgbClr val="374151"/>
                </a:solidFill>
                <a:effectLst/>
                <a:latin typeface="Söhne"/>
              </a:rPr>
            </a:br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- from their own perspectiv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3732CC-18C1-4523-AC80-19552F3E7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61025-98FF-4C1D-96AB-5CF6019945B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8" name="Datumsplatzhalter 27">
            <a:extLst>
              <a:ext uri="{FF2B5EF4-FFF2-40B4-BE49-F238E27FC236}">
                <a16:creationId xmlns:a16="http://schemas.microsoft.com/office/drawing/2014/main" id="{42337C87-68B1-4C73-8B87-322AAD83B5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99" y="6562889"/>
            <a:ext cx="694520" cy="138499"/>
          </a:xfrm>
        </p:spPr>
        <p:txBody>
          <a:bodyPr/>
          <a:lstStyle/>
          <a:p>
            <a:fld id="{13CF5F03-E195-47E2-A3BC-136F33F1F7C1}" type="datetime1">
              <a:rPr lang="de-DE" smtClean="0"/>
              <a:t>03.11.2023</a:t>
            </a:fld>
            <a:endParaRPr lang="en-US" dirty="0"/>
          </a:p>
        </p:txBody>
      </p:sp>
      <p:sp>
        <p:nvSpPr>
          <p:cNvPr id="12" name="Fußzeilenplatzhalter 32">
            <a:extLst>
              <a:ext uri="{FF2B5EF4-FFF2-40B4-BE49-F238E27FC236}">
                <a16:creationId xmlns:a16="http://schemas.microsoft.com/office/drawing/2014/main" id="{85548716-BD7C-46E6-8CC3-2F7EAE1DF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0144" y="6571519"/>
            <a:ext cx="7564290" cy="138499"/>
          </a:xfrm>
        </p:spPr>
        <p:txBody>
          <a:bodyPr/>
          <a:lstStyle/>
          <a:p>
            <a:r>
              <a:rPr lang="de-DE"/>
              <a:t>Handelsbefragung Zweitplatzierung / © 2023 Bormann &amp; Gordon GmbH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8188C1F-D51F-211B-40D2-87B2EC3BB1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99" y="977372"/>
            <a:ext cx="11376000" cy="246221"/>
          </a:xfrm>
        </p:spPr>
        <p:txBody>
          <a:bodyPr/>
          <a:lstStyle/>
          <a:p>
            <a:r>
              <a:rPr lang="en-GB" sz="1600" b="0" i="0" dirty="0">
                <a:solidFill>
                  <a:srgbClr val="374151"/>
                </a:solidFill>
                <a:effectLst/>
                <a:latin typeface="Söhne"/>
              </a:rPr>
              <a:t>'Do you think you have effectively utilized the potential of secondary placements in your market so far? </a:t>
            </a:r>
            <a:br>
              <a:rPr lang="en-GB" sz="1600" b="0" i="0" dirty="0">
                <a:solidFill>
                  <a:srgbClr val="374151"/>
                </a:solidFill>
                <a:effectLst/>
                <a:latin typeface="Söhne"/>
              </a:rPr>
            </a:br>
            <a:r>
              <a:rPr lang="en-GB" sz="1600" b="0" i="0" dirty="0">
                <a:solidFill>
                  <a:srgbClr val="374151"/>
                </a:solidFill>
                <a:effectLst/>
                <a:latin typeface="Söhne"/>
              </a:rPr>
              <a:t>%  of respondents answering with “yes”</a:t>
            </a:r>
            <a:endParaRPr lang="de-DE" dirty="0"/>
          </a:p>
        </p:txBody>
      </p:sp>
      <p:graphicFrame>
        <p:nvGraphicFramePr>
          <p:cNvPr id="58" name="Chart 3">
            <a:extLst>
              <a:ext uri="{FF2B5EF4-FFF2-40B4-BE49-F238E27FC236}">
                <a16:creationId xmlns:a16="http://schemas.microsoft.com/office/drawing/2014/main" id="{B6D88D8D-B3D3-45BC-91AD-A578B298A22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6091306"/>
              </p:ext>
            </p:extLst>
          </p:nvPr>
        </p:nvGraphicFramePr>
        <p:xfrm>
          <a:off x="1404938" y="2754313"/>
          <a:ext cx="8002587" cy="2028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9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331200" y="4759325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E29B44-77E2-4256-8D93-E66D4AB9FABB}" type="datetime'''''V''''''''''''''MK'''''''''''''''''''''''''''''''''''''">
              <a:rPr lang="de-DE" altLang="en-US" smtClean="0"/>
              <a:pPr/>
              <a:t>VMK</a:t>
            </a:fld>
            <a:endParaRPr lang="de-DE" dirty="0"/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754813" y="4759325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485B4C-8190-4CA4-BFAB-4CB75DF7267E}" type="datetime'''V''''M''''''''''''''''''''''''''''''''''''''''''''''''''G'">
              <a:rPr lang="de-DE" altLang="en-US" smtClean="0"/>
              <a:pPr/>
              <a:t>VMG</a:t>
            </a:fld>
            <a:endParaRPr lang="de-DE" dirty="0"/>
          </a:p>
        </p:txBody>
      </p:sp>
      <p:sp>
        <p:nvSpPr>
          <p:cNvPr id="23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947863" y="4759325"/>
            <a:ext cx="6445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Total</a:t>
            </a:r>
            <a:endParaRPr lang="de-DE" dirty="0"/>
          </a:p>
        </p:txBody>
      </p:sp>
      <p:sp>
        <p:nvSpPr>
          <p:cNvPr id="25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582988" y="4759325"/>
            <a:ext cx="508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D9DD8A-12D0-46A3-899F-9769A06FDEE1}" type="datetime'''''E''d''''''''''''''''''''ek''''''''a'''''">
              <a:rPr lang="de-DE" altLang="en-US" smtClean="0"/>
              <a:pPr/>
              <a:t>Edeka</a:t>
            </a:fld>
            <a:endParaRPr lang="de-DE" dirty="0"/>
          </a:p>
        </p:txBody>
      </p:sp>
      <p:sp>
        <p:nvSpPr>
          <p:cNvPr id="26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132388" y="4759325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5BBD11-1EC0-4498-9A3F-3F531E26EC3F}" type="datetime'''''''''''''''''''R''''''E''''''''''''''''W''''''''''E'''''''">
              <a:rPr lang="de-DE" altLang="en-US" smtClean="0"/>
              <a:pPr/>
              <a:t>REWE</a:t>
            </a:fld>
            <a:endParaRPr lang="de-DE" dirty="0"/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4E3E7780-716E-7799-8379-77412EDB7375}"/>
              </a:ext>
            </a:extLst>
          </p:cNvPr>
          <p:cNvCxnSpPr>
            <a:cxnSpLocks/>
          </p:cNvCxnSpPr>
          <p:nvPr/>
        </p:nvCxnSpPr>
        <p:spPr>
          <a:xfrm>
            <a:off x="3009148" y="1590812"/>
            <a:ext cx="0" cy="4065973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E6639F09-5E81-74F4-039D-D45DA2DF9918}"/>
              </a:ext>
            </a:extLst>
          </p:cNvPr>
          <p:cNvCxnSpPr>
            <a:cxnSpLocks/>
          </p:cNvCxnSpPr>
          <p:nvPr/>
        </p:nvCxnSpPr>
        <p:spPr>
          <a:xfrm>
            <a:off x="6260668" y="1590812"/>
            <a:ext cx="0" cy="4065973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47A20271-B907-A54A-3A53-2E3898EDDF54}"/>
              </a:ext>
            </a:extLst>
          </p:cNvPr>
          <p:cNvSpPr txBox="1"/>
          <p:nvPr/>
        </p:nvSpPr>
        <p:spPr>
          <a:xfrm>
            <a:off x="9078012" y="5959151"/>
            <a:ext cx="2645785" cy="6037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de-DE" sz="1000" dirty="0"/>
              <a:t>n=100</a:t>
            </a:r>
            <a:br>
              <a:rPr lang="de-DE" sz="1000" dirty="0"/>
            </a:br>
            <a:r>
              <a:rPr lang="de-DE" sz="1000" dirty="0"/>
              <a:t>Edeka n= 51; REWE n=49</a:t>
            </a:r>
            <a:br>
              <a:rPr lang="de-DE" sz="1000" dirty="0"/>
            </a:br>
            <a:r>
              <a:rPr lang="de-DE" sz="1000" dirty="0"/>
              <a:t>VMG n=26; VMK n=74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4F9CBA9-10EB-1C30-9C62-8A3CA9D8B09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6556" y="5551704"/>
            <a:ext cx="447241" cy="447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8834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F76BEA4-0800-4058-BE46-A20300DB9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244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444" imgH="446" progId="TCLayout.ActiveDocument.1">
                  <p:embed/>
                </p:oleObj>
              </mc:Choice>
              <mc:Fallback>
                <p:oleObj name="think-cell Folie" r:id="rId11" imgW="444" imgH="4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F76BEA4-0800-4058-BE46-A20300DB9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15BCA384-8405-4911-B263-9B8F98A40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8" y="473652"/>
            <a:ext cx="11375999" cy="332399"/>
          </a:xfrm>
        </p:spPr>
        <p:txBody>
          <a:bodyPr vert="horz"/>
          <a:lstStyle/>
          <a:p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Industry agreements take priority – Headquarter has little influenc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3732CC-18C1-4523-AC80-19552F3E7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61025-98FF-4C1D-96AB-5CF6019945B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8" name="Datumsplatzhalter 27">
            <a:extLst>
              <a:ext uri="{FF2B5EF4-FFF2-40B4-BE49-F238E27FC236}">
                <a16:creationId xmlns:a16="http://schemas.microsoft.com/office/drawing/2014/main" id="{42337C87-68B1-4C73-8B87-322AAD83B5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99" y="6562889"/>
            <a:ext cx="694520" cy="138499"/>
          </a:xfrm>
        </p:spPr>
        <p:txBody>
          <a:bodyPr/>
          <a:lstStyle/>
          <a:p>
            <a:fld id="{13CF5F03-E195-47E2-A3BC-136F33F1F7C1}" type="datetime1">
              <a:rPr lang="de-DE" smtClean="0"/>
              <a:t>03.11.2023</a:t>
            </a:fld>
            <a:endParaRPr lang="en-US" dirty="0"/>
          </a:p>
        </p:txBody>
      </p:sp>
      <p:sp>
        <p:nvSpPr>
          <p:cNvPr id="12" name="Fußzeilenplatzhalter 32">
            <a:extLst>
              <a:ext uri="{FF2B5EF4-FFF2-40B4-BE49-F238E27FC236}">
                <a16:creationId xmlns:a16="http://schemas.microsoft.com/office/drawing/2014/main" id="{85548716-BD7C-46E6-8CC3-2F7EAE1DF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0144" y="6571519"/>
            <a:ext cx="7564290" cy="138499"/>
          </a:xfrm>
        </p:spPr>
        <p:txBody>
          <a:bodyPr/>
          <a:lstStyle/>
          <a:p>
            <a:r>
              <a:rPr lang="de-DE"/>
              <a:t>Handelsbefragung Zweitplatzierung / © 2023 Bormann &amp; Gordon GmbH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8188C1F-D51F-211B-40D2-87B2EC3BB1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7797" y="1139916"/>
            <a:ext cx="11376000" cy="246221"/>
          </a:xfrm>
        </p:spPr>
        <p:txBody>
          <a:bodyPr/>
          <a:lstStyle/>
          <a:p>
            <a:r>
              <a:rPr lang="en-GB" sz="1600" b="0" i="0" dirty="0">
                <a:solidFill>
                  <a:srgbClr val="374151"/>
                </a:solidFill>
                <a:effectLst/>
                <a:latin typeface="Söhne"/>
              </a:rPr>
              <a:t>'What importance do the following agreements have for secondary placements in your market? (On a scale of 1 to 5, where 1 means 'no importance' and 5 means 'very high importance')</a:t>
            </a:r>
            <a:endParaRPr lang="de-DE" dirty="0"/>
          </a:p>
        </p:txBody>
      </p:sp>
      <p:sp>
        <p:nvSpPr>
          <p:cNvPr id="303" name="Textfeld 302">
            <a:extLst>
              <a:ext uri="{FF2B5EF4-FFF2-40B4-BE49-F238E27FC236}">
                <a16:creationId xmlns:a16="http://schemas.microsoft.com/office/drawing/2014/main" id="{58F47C1F-5578-2BB4-C698-A69F8C7709BE}"/>
              </a:ext>
            </a:extLst>
          </p:cNvPr>
          <p:cNvSpPr txBox="1"/>
          <p:nvPr/>
        </p:nvSpPr>
        <p:spPr>
          <a:xfrm>
            <a:off x="11224030" y="5821151"/>
            <a:ext cx="545834" cy="27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endParaRPr lang="de-DE" sz="1000" dirty="0"/>
          </a:p>
        </p:txBody>
      </p:sp>
      <p:graphicFrame>
        <p:nvGraphicFramePr>
          <p:cNvPr id="31" name="Chart 3">
            <a:extLst>
              <a:ext uri="{FF2B5EF4-FFF2-40B4-BE49-F238E27FC236}">
                <a16:creationId xmlns:a16="http://schemas.microsoft.com/office/drawing/2014/main" id="{1BD27AFB-7A99-44D0-8FC8-6E7B3450F22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972446"/>
              </p:ext>
            </p:extLst>
          </p:nvPr>
        </p:nvGraphicFramePr>
        <p:xfrm>
          <a:off x="3654425" y="2284413"/>
          <a:ext cx="4057650" cy="4071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5" name="Textplatzhalter 17">
            <a:extLst>
              <a:ext uri="{FF2B5EF4-FFF2-40B4-BE49-F238E27FC236}">
                <a16:creationId xmlns:a16="http://schemas.microsoft.com/office/drawing/2014/main" id="{698D0C7E-CB6B-4C94-A3E6-96225622158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44513" y="4213225"/>
            <a:ext cx="3074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Bilateral </a:t>
            </a:r>
            <a:r>
              <a:rPr lang="de-DE" altLang="en-US" dirty="0" err="1"/>
              <a:t>agreement</a:t>
            </a:r>
            <a:r>
              <a:rPr lang="de-DE" altLang="en-US" dirty="0"/>
              <a:t> </a:t>
            </a:r>
            <a:r>
              <a:rPr lang="de-DE" altLang="en-US" dirty="0" err="1"/>
              <a:t>with</a:t>
            </a:r>
            <a:r>
              <a:rPr lang="de-DE" altLang="en-US" dirty="0"/>
              <a:t> </a:t>
            </a:r>
            <a:r>
              <a:rPr lang="de-DE" altLang="en-US" dirty="0" err="1"/>
              <a:t>manufacturer</a:t>
            </a:r>
            <a:endParaRPr lang="de-DE" dirty="0"/>
          </a:p>
        </p:txBody>
      </p:sp>
      <p:sp>
        <p:nvSpPr>
          <p:cNvPr id="74" name="Textplatzhalter 17">
            <a:extLst>
              <a:ext uri="{FF2B5EF4-FFF2-40B4-BE49-F238E27FC236}">
                <a16:creationId xmlns:a16="http://schemas.microsoft.com/office/drawing/2014/main" id="{D02492D4-41C2-4950-9F56-9ADEC36142D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77975" y="5776913"/>
            <a:ext cx="20415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Talon </a:t>
            </a:r>
            <a:r>
              <a:rPr lang="de-DE" altLang="en-US" dirty="0" err="1"/>
              <a:t>activities</a:t>
            </a:r>
            <a:r>
              <a:rPr lang="de-DE" altLang="en-US" dirty="0"/>
              <a:t> / ad hoc</a:t>
            </a:r>
            <a:endParaRPr lang="de-DE" dirty="0"/>
          </a:p>
        </p:txBody>
      </p:sp>
      <p:sp>
        <p:nvSpPr>
          <p:cNvPr id="71" name="Textplatzhalter 17">
            <a:extLst>
              <a:ext uri="{FF2B5EF4-FFF2-40B4-BE49-F238E27FC236}">
                <a16:creationId xmlns:a16="http://schemas.microsoft.com/office/drawing/2014/main" id="{304F432B-4865-43B8-A5DC-0203054C8D6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74713" y="2651125"/>
            <a:ext cx="27447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Display </a:t>
            </a:r>
            <a:r>
              <a:rPr lang="de-DE" altLang="en-US" dirty="0" err="1"/>
              <a:t>allocation</a:t>
            </a:r>
            <a:r>
              <a:rPr lang="de-DE" altLang="en-US" dirty="0"/>
              <a:t> </a:t>
            </a:r>
            <a:r>
              <a:rPr lang="de-DE" altLang="en-US" dirty="0" err="1"/>
              <a:t>through</a:t>
            </a:r>
            <a:r>
              <a:rPr lang="de-DE" altLang="en-US" dirty="0"/>
              <a:t> </a:t>
            </a:r>
            <a:r>
              <a:rPr lang="de-DE" altLang="en-US" dirty="0" err="1"/>
              <a:t>retailer</a:t>
            </a:r>
            <a:r>
              <a:rPr lang="de-DE" altLang="en-US" dirty="0"/>
              <a:t> HQ</a:t>
            </a:r>
            <a:endParaRPr lang="de-DE" dirty="0"/>
          </a:p>
        </p:txBody>
      </p:sp>
      <p:sp>
        <p:nvSpPr>
          <p:cNvPr id="76" name="Textplatzhalter 17">
            <a:extLst>
              <a:ext uri="{FF2B5EF4-FFF2-40B4-BE49-F238E27FC236}">
                <a16:creationId xmlns:a16="http://schemas.microsoft.com/office/drawing/2014/main" id="{AE5C63B3-CD31-4B33-8D0C-FEABBA46EEF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60400" y="3432175"/>
            <a:ext cx="2959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Display </a:t>
            </a:r>
            <a:r>
              <a:rPr lang="de-DE" altLang="en-US" dirty="0" err="1"/>
              <a:t>reco</a:t>
            </a:r>
            <a:r>
              <a:rPr lang="de-DE" altLang="en-US" dirty="0"/>
              <a:t> </a:t>
            </a:r>
            <a:r>
              <a:rPr lang="de-DE" altLang="en-US" dirty="0" err="1"/>
              <a:t>through</a:t>
            </a:r>
            <a:r>
              <a:rPr lang="de-DE" altLang="en-US" dirty="0"/>
              <a:t> </a:t>
            </a:r>
            <a:r>
              <a:rPr lang="de-DE" altLang="en-US" dirty="0" err="1"/>
              <a:t>retailer</a:t>
            </a:r>
            <a:r>
              <a:rPr lang="de-DE" altLang="en-US" dirty="0"/>
              <a:t> HQ</a:t>
            </a:r>
            <a:endParaRPr lang="de-DE" dirty="0"/>
          </a:p>
        </p:txBody>
      </p:sp>
      <p:sp>
        <p:nvSpPr>
          <p:cNvPr id="70" name="Textplatzhalter 17">
            <a:extLst>
              <a:ext uri="{FF2B5EF4-FFF2-40B4-BE49-F238E27FC236}">
                <a16:creationId xmlns:a16="http://schemas.microsoft.com/office/drawing/2014/main" id="{AEADCABA-F661-4C1D-AFE9-7840C99C554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44513" y="4995863"/>
            <a:ext cx="3074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Annual </a:t>
            </a:r>
            <a:r>
              <a:rPr lang="de-DE" altLang="en-US" dirty="0" err="1"/>
              <a:t>agreement</a:t>
            </a:r>
            <a:r>
              <a:rPr lang="de-DE" altLang="en-US" dirty="0"/>
              <a:t> </a:t>
            </a:r>
            <a:r>
              <a:rPr lang="de-DE" altLang="en-US" dirty="0" err="1"/>
              <a:t>with</a:t>
            </a:r>
            <a:r>
              <a:rPr lang="de-DE" altLang="en-US" dirty="0"/>
              <a:t> </a:t>
            </a:r>
            <a:r>
              <a:rPr lang="de-DE" altLang="en-US" dirty="0" err="1"/>
              <a:t>manufacturer</a:t>
            </a:r>
            <a:endParaRPr lang="de-DE" dirty="0"/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ACCEFE8C-23BF-4C9B-9213-4F4D056DC40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808413" y="2087563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88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110038" y="2082800"/>
            <a:ext cx="1006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% </a:t>
            </a:r>
            <a:r>
              <a:rPr lang="de-DE" altLang="en-US" dirty="0" err="1"/>
              <a:t>of</a:t>
            </a:r>
            <a:r>
              <a:rPr lang="de-DE" altLang="en-US" dirty="0"/>
              <a:t> </a:t>
            </a:r>
            <a:r>
              <a:rPr lang="de-DE" altLang="en-US" dirty="0" err="1"/>
              <a:t>respondents</a:t>
            </a:r>
            <a:r>
              <a:rPr lang="de-DE" altLang="en-US" dirty="0"/>
              <a:t> </a:t>
            </a:r>
            <a:r>
              <a:rPr lang="de-DE" altLang="en-US" dirty="0" err="1"/>
              <a:t>answering</a:t>
            </a:r>
            <a:r>
              <a:rPr lang="de-DE" altLang="en-US" dirty="0"/>
              <a:t> </a:t>
            </a:r>
            <a:r>
              <a:rPr lang="de-DE" altLang="en-US" dirty="0" err="1"/>
              <a:t>with</a:t>
            </a:r>
            <a:r>
              <a:rPr lang="de-DE" altLang="en-US" dirty="0"/>
              <a:t> 5 </a:t>
            </a:r>
            <a:r>
              <a:rPr lang="de-DE" altLang="en-US" dirty="0" err="1"/>
              <a:t>or</a:t>
            </a:r>
            <a:r>
              <a:rPr lang="de-DE" altLang="en-US" dirty="0"/>
              <a:t> 4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5F6C56-6421-747D-7106-028AD3B3B11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6556" y="5551704"/>
            <a:ext cx="447241" cy="44724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5617A9C-6FC5-06CA-9A2E-527A3D147CEE}"/>
              </a:ext>
            </a:extLst>
          </p:cNvPr>
          <p:cNvSpPr txBox="1"/>
          <p:nvPr/>
        </p:nvSpPr>
        <p:spPr>
          <a:xfrm>
            <a:off x="9078012" y="5959151"/>
            <a:ext cx="2645785" cy="6037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de-DE" sz="1000" dirty="0"/>
              <a:t>n=100</a:t>
            </a:r>
            <a:br>
              <a:rPr lang="de-DE" sz="1000" dirty="0"/>
            </a:br>
            <a:r>
              <a:rPr lang="de-DE" sz="1000" dirty="0"/>
              <a:t>Edeka n= 51; REWE n=49</a:t>
            </a:r>
            <a:br>
              <a:rPr lang="de-DE" sz="1000" dirty="0"/>
            </a:br>
            <a:r>
              <a:rPr lang="de-DE" sz="1000" dirty="0"/>
              <a:t>VMG n=26; VMK n=74</a:t>
            </a:r>
          </a:p>
        </p:txBody>
      </p:sp>
    </p:spTree>
    <p:extLst>
      <p:ext uri="{BB962C8B-B14F-4D97-AF65-F5344CB8AC3E}">
        <p14:creationId xmlns:p14="http://schemas.microsoft.com/office/powerpoint/2010/main" val="1852279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F76BEA4-0800-4058-BE46-A20300DB9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808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444" imgH="446" progId="TCLayout.ActiveDocument.1">
                  <p:embed/>
                </p:oleObj>
              </mc:Choice>
              <mc:Fallback>
                <p:oleObj name="think-cell Folie" r:id="rId17" imgW="444" imgH="4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F76BEA4-0800-4058-BE46-A20300DB9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15BCA384-8405-4911-B263-9B8F98A40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8" y="473652"/>
            <a:ext cx="11375999" cy="332399"/>
          </a:xfrm>
        </p:spPr>
        <p:txBody>
          <a:bodyPr vert="horz"/>
          <a:lstStyle/>
          <a:p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Sales &amp; revenue are top criteria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3732CC-18C1-4523-AC80-19552F3E7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61025-98FF-4C1D-96AB-5CF6019945B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8" name="Datumsplatzhalter 27">
            <a:extLst>
              <a:ext uri="{FF2B5EF4-FFF2-40B4-BE49-F238E27FC236}">
                <a16:creationId xmlns:a16="http://schemas.microsoft.com/office/drawing/2014/main" id="{42337C87-68B1-4C73-8B87-322AAD83B5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99" y="6562889"/>
            <a:ext cx="694520" cy="138499"/>
          </a:xfrm>
        </p:spPr>
        <p:txBody>
          <a:bodyPr/>
          <a:lstStyle/>
          <a:p>
            <a:fld id="{13CF5F03-E195-47E2-A3BC-136F33F1F7C1}" type="datetime1">
              <a:rPr lang="de-DE" smtClean="0"/>
              <a:t>03.11.2023</a:t>
            </a:fld>
            <a:endParaRPr lang="en-US" dirty="0"/>
          </a:p>
        </p:txBody>
      </p:sp>
      <p:sp>
        <p:nvSpPr>
          <p:cNvPr id="12" name="Fußzeilenplatzhalter 32">
            <a:extLst>
              <a:ext uri="{FF2B5EF4-FFF2-40B4-BE49-F238E27FC236}">
                <a16:creationId xmlns:a16="http://schemas.microsoft.com/office/drawing/2014/main" id="{85548716-BD7C-46E6-8CC3-2F7EAE1DF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0144" y="6571519"/>
            <a:ext cx="7564290" cy="138499"/>
          </a:xfrm>
        </p:spPr>
        <p:txBody>
          <a:bodyPr/>
          <a:lstStyle/>
          <a:p>
            <a:r>
              <a:rPr lang="de-DE"/>
              <a:t>Handelsbefragung Zweitplatzierung / © 2023 Bormann &amp; Gordon GmbH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8188C1F-D51F-211B-40D2-87B2EC3BB1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7797" y="1036178"/>
            <a:ext cx="11376000" cy="246221"/>
          </a:xfrm>
        </p:spPr>
        <p:txBody>
          <a:bodyPr/>
          <a:lstStyle/>
          <a:p>
            <a:r>
              <a:rPr lang="en-GB" sz="1600" b="0" i="0" dirty="0">
                <a:solidFill>
                  <a:srgbClr val="374151"/>
                </a:solidFill>
                <a:effectLst/>
                <a:latin typeface="Söhne"/>
              </a:rPr>
              <a:t>How important are the following criteria for the decision for a specific secondary placement in your market overall? (On a scale of 1 to 5, where 1 means 'unimportant' and 5 means 'very important')</a:t>
            </a:r>
            <a:endParaRPr lang="de-DE" dirty="0"/>
          </a:p>
        </p:txBody>
      </p:sp>
      <p:sp>
        <p:nvSpPr>
          <p:cNvPr id="303" name="Textfeld 302">
            <a:extLst>
              <a:ext uri="{FF2B5EF4-FFF2-40B4-BE49-F238E27FC236}">
                <a16:creationId xmlns:a16="http://schemas.microsoft.com/office/drawing/2014/main" id="{58F47C1F-5578-2BB4-C698-A69F8C7709BE}"/>
              </a:ext>
            </a:extLst>
          </p:cNvPr>
          <p:cNvSpPr txBox="1"/>
          <p:nvPr/>
        </p:nvSpPr>
        <p:spPr>
          <a:xfrm>
            <a:off x="11224030" y="5821151"/>
            <a:ext cx="545834" cy="27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endParaRPr lang="de-DE" sz="1000" dirty="0"/>
          </a:p>
        </p:txBody>
      </p:sp>
      <p:graphicFrame>
        <p:nvGraphicFramePr>
          <p:cNvPr id="34" name="Chart 3">
            <a:extLst>
              <a:ext uri="{FF2B5EF4-FFF2-40B4-BE49-F238E27FC236}">
                <a16:creationId xmlns:a16="http://schemas.microsoft.com/office/drawing/2014/main" id="{A45C275A-A4A9-425C-8796-446C206EFB3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512462"/>
              </p:ext>
            </p:extLst>
          </p:nvPr>
        </p:nvGraphicFramePr>
        <p:xfrm>
          <a:off x="3654425" y="2227263"/>
          <a:ext cx="4057650" cy="4200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76" name="Textplatzhalter 17">
            <a:extLst>
              <a:ext uri="{FF2B5EF4-FFF2-40B4-BE49-F238E27FC236}">
                <a16:creationId xmlns:a16="http://schemas.microsoft.com/office/drawing/2014/main" id="{AE5C63B3-CD31-4B33-8D0C-FEABBA46EEF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604963" y="2808288"/>
            <a:ext cx="2014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 err="1"/>
              <a:t>Profitability</a:t>
            </a:r>
            <a:r>
              <a:rPr lang="de-DE" altLang="en-US" dirty="0"/>
              <a:t> </a:t>
            </a:r>
            <a:r>
              <a:rPr lang="de-DE" altLang="en-US" dirty="0" err="1"/>
              <a:t>of</a:t>
            </a:r>
            <a:r>
              <a:rPr lang="de-DE" altLang="en-US" dirty="0"/>
              <a:t> </a:t>
            </a:r>
            <a:r>
              <a:rPr lang="de-DE" altLang="en-US" dirty="0" err="1"/>
              <a:t>items</a:t>
            </a:r>
            <a:endParaRPr lang="de-DE" dirty="0"/>
          </a:p>
        </p:txBody>
      </p:sp>
      <p:sp>
        <p:nvSpPr>
          <p:cNvPr id="24" name="Textplatzhalter 17">
            <a:extLst>
              <a:ext uri="{FF2B5EF4-FFF2-40B4-BE49-F238E27FC236}">
                <a16:creationId xmlns:a16="http://schemas.microsoft.com/office/drawing/2014/main" id="{34FD7449-4410-4DFA-982F-9F741210BFE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655888" y="4422775"/>
            <a:ext cx="963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 err="1"/>
              <a:t>Seasonality</a:t>
            </a:r>
            <a:endParaRPr lang="de-DE" dirty="0"/>
          </a:p>
        </p:txBody>
      </p:sp>
      <p:sp>
        <p:nvSpPr>
          <p:cNvPr id="74" name="Textplatzhalter 17">
            <a:extLst>
              <a:ext uri="{FF2B5EF4-FFF2-40B4-BE49-F238E27FC236}">
                <a16:creationId xmlns:a16="http://schemas.microsoft.com/office/drawing/2014/main" id="{D02492D4-41C2-4950-9F56-9ADEC36142D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71538" y="4019550"/>
            <a:ext cx="2747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 err="1"/>
              <a:t>Leaflet</a:t>
            </a:r>
            <a:r>
              <a:rPr lang="de-DE" altLang="en-US" dirty="0"/>
              <a:t> </a:t>
            </a:r>
            <a:r>
              <a:rPr lang="de-DE" altLang="en-US" dirty="0" err="1"/>
              <a:t>advertising</a:t>
            </a:r>
            <a:endParaRPr lang="de-DE" dirty="0"/>
          </a:p>
        </p:txBody>
      </p:sp>
      <p:sp>
        <p:nvSpPr>
          <p:cNvPr id="71" name="Textplatzhalter 17">
            <a:extLst>
              <a:ext uri="{FF2B5EF4-FFF2-40B4-BE49-F238E27FC236}">
                <a16:creationId xmlns:a16="http://schemas.microsoft.com/office/drawing/2014/main" id="{304F432B-4865-43B8-A5DC-0203054C8D6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12839" y="2405063"/>
            <a:ext cx="2506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High </a:t>
            </a:r>
            <a:r>
              <a:rPr lang="de-DE" altLang="en-US" dirty="0" err="1"/>
              <a:t>sales</a:t>
            </a:r>
            <a:r>
              <a:rPr lang="de-DE" altLang="en-US" dirty="0"/>
              <a:t> potential</a:t>
            </a:r>
            <a:endParaRPr lang="de-DE" dirty="0"/>
          </a:p>
        </p:txBody>
      </p:sp>
      <p:sp>
        <p:nvSpPr>
          <p:cNvPr id="75" name="Textplatzhalter 17">
            <a:extLst>
              <a:ext uri="{FF2B5EF4-FFF2-40B4-BE49-F238E27FC236}">
                <a16:creationId xmlns:a16="http://schemas.microsoft.com/office/drawing/2014/main" id="{698D0C7E-CB6B-4C94-A3E6-96225622158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449389" y="3211513"/>
            <a:ext cx="21701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dirty="0"/>
              <a:t>Good field sales contact</a:t>
            </a:r>
            <a:endParaRPr lang="de-DE" dirty="0"/>
          </a:p>
        </p:txBody>
      </p:sp>
      <p:sp>
        <p:nvSpPr>
          <p:cNvPr id="70" name="Textplatzhalter 17">
            <a:extLst>
              <a:ext uri="{FF2B5EF4-FFF2-40B4-BE49-F238E27FC236}">
                <a16:creationId xmlns:a16="http://schemas.microsoft.com/office/drawing/2014/main" id="{AEADCABA-F661-4C1D-AFE9-7840C99C554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77939" y="3616325"/>
            <a:ext cx="2341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 err="1"/>
              <a:t>Appearance</a:t>
            </a:r>
            <a:r>
              <a:rPr lang="de-DE" altLang="en-US" dirty="0"/>
              <a:t>/</a:t>
            </a:r>
            <a:r>
              <a:rPr lang="de-DE" altLang="en-US" dirty="0" err="1"/>
              <a:t>attractive</a:t>
            </a:r>
            <a:r>
              <a:rPr lang="de-DE" altLang="en-US" dirty="0"/>
              <a:t> design</a:t>
            </a:r>
            <a:endParaRPr lang="de-DE" dirty="0"/>
          </a:p>
        </p:txBody>
      </p:sp>
      <p:sp>
        <p:nvSpPr>
          <p:cNvPr id="30" name="Textplatzhalter 17">
            <a:extLst>
              <a:ext uri="{FF2B5EF4-FFF2-40B4-BE49-F238E27FC236}">
                <a16:creationId xmlns:a16="http://schemas.microsoft.com/office/drawing/2014/main" id="{CE399D9D-4835-426D-9B3E-AB7BAE1B1A5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96963" y="6037263"/>
            <a:ext cx="2522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 err="1"/>
              <a:t>Others</a:t>
            </a:r>
            <a:endParaRPr lang="de-DE" dirty="0"/>
          </a:p>
        </p:txBody>
      </p:sp>
      <p:sp>
        <p:nvSpPr>
          <p:cNvPr id="25" name="Textplatzhalter 17">
            <a:extLst>
              <a:ext uri="{FF2B5EF4-FFF2-40B4-BE49-F238E27FC236}">
                <a16:creationId xmlns:a16="http://schemas.microsoft.com/office/drawing/2014/main" id="{7E391A5C-B033-4E41-857F-EFCE14DB93B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12813" y="4826000"/>
            <a:ext cx="2706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dirty="0"/>
              <a:t>Ensuring product availability</a:t>
            </a:r>
            <a:endParaRPr lang="de-DE" dirty="0"/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C1130E4B-F0B0-4827-BE6B-1C9F5B2E3D4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635125" y="5229225"/>
            <a:ext cx="1984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dirty="0"/>
              <a:t>New products / profiling</a:t>
            </a:r>
            <a:endParaRPr lang="de-DE" dirty="0"/>
          </a:p>
        </p:txBody>
      </p:sp>
      <p:sp>
        <p:nvSpPr>
          <p:cNvPr id="29" name="Textplatzhalter 17">
            <a:extLst>
              <a:ext uri="{FF2B5EF4-FFF2-40B4-BE49-F238E27FC236}">
                <a16:creationId xmlns:a16="http://schemas.microsoft.com/office/drawing/2014/main" id="{9FA9F46F-C1A5-4583-8930-C461704A7EE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219200" y="5634038"/>
            <a:ext cx="2400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dirty="0"/>
              <a:t>Manufacturer's trade discount</a:t>
            </a:r>
            <a:endParaRPr lang="de-DE" dirty="0"/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ACCEFE8C-23BF-4C9B-9213-4F4D056DC40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808413" y="1952625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88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110038" y="1947863"/>
            <a:ext cx="1006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0AED2B7-3FBC-4721-A970-D4AA5A69698C}"/>
              </a:ext>
            </a:extLst>
          </p:cNvPr>
          <p:cNvSpPr txBox="1"/>
          <p:nvPr/>
        </p:nvSpPr>
        <p:spPr>
          <a:xfrm>
            <a:off x="9078012" y="5959151"/>
            <a:ext cx="2645785" cy="6037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de-DE" sz="1000" dirty="0"/>
              <a:t>n=100</a:t>
            </a:r>
            <a:br>
              <a:rPr lang="de-DE" sz="1000" dirty="0"/>
            </a:br>
            <a:r>
              <a:rPr lang="de-DE" sz="1000" dirty="0"/>
              <a:t>Edeka n= 51; REWE n=49</a:t>
            </a:r>
            <a:br>
              <a:rPr lang="de-DE" sz="1000" dirty="0"/>
            </a:br>
            <a:r>
              <a:rPr lang="de-DE" sz="1000" dirty="0"/>
              <a:t>VMG n=26; VMK n=74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73B73EAA-E6D8-4A39-B1A3-FA6E5D8ACF46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6556" y="5551704"/>
            <a:ext cx="447241" cy="447241"/>
          </a:xfrm>
          <a:prstGeom prst="rect">
            <a:avLst/>
          </a:prstGeom>
        </p:spPr>
      </p:pic>
      <p:sp>
        <p:nvSpPr>
          <p:cNvPr id="31" name="Textplatzhalter 17">
            <a:extLst>
              <a:ext uri="{FF2B5EF4-FFF2-40B4-BE49-F238E27FC236}">
                <a16:creationId xmlns:a16="http://schemas.microsoft.com/office/drawing/2014/main" id="{52BF382E-CA32-402E-A00B-1F48106B12A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110038" y="1939925"/>
            <a:ext cx="1006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/>
              <a:t>% </a:t>
            </a:r>
            <a:r>
              <a:rPr lang="de-DE" altLang="en-US" dirty="0" err="1"/>
              <a:t>of</a:t>
            </a:r>
            <a:r>
              <a:rPr lang="de-DE" altLang="en-US" dirty="0"/>
              <a:t> </a:t>
            </a:r>
            <a:r>
              <a:rPr lang="de-DE" altLang="en-US" dirty="0" err="1"/>
              <a:t>respondents</a:t>
            </a:r>
            <a:r>
              <a:rPr lang="de-DE" altLang="en-US" dirty="0"/>
              <a:t> </a:t>
            </a:r>
            <a:r>
              <a:rPr lang="de-DE" altLang="en-US" dirty="0" err="1"/>
              <a:t>answering</a:t>
            </a:r>
            <a:r>
              <a:rPr lang="de-DE" altLang="en-US" dirty="0"/>
              <a:t> </a:t>
            </a:r>
            <a:r>
              <a:rPr lang="de-DE" altLang="en-US" dirty="0" err="1"/>
              <a:t>with</a:t>
            </a:r>
            <a:r>
              <a:rPr lang="de-DE" altLang="en-US" dirty="0"/>
              <a:t> 5 </a:t>
            </a:r>
            <a:r>
              <a:rPr lang="de-DE" altLang="en-US" dirty="0" err="1"/>
              <a:t>or</a:t>
            </a:r>
            <a:r>
              <a:rPr lang="de-DE" altLang="en-US" dirty="0"/>
              <a:t> 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25261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F76BEA4-0800-4058-BE46-A20300DB9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909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444" imgH="446" progId="TCLayout.ActiveDocument.1">
                  <p:embed/>
                </p:oleObj>
              </mc:Choice>
              <mc:Fallback>
                <p:oleObj name="think-cell Folie" r:id="rId27" imgW="444" imgH="4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F76BEA4-0800-4058-BE46-A20300DB9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15BCA384-8405-4911-B263-9B8F98A40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8" y="141254"/>
            <a:ext cx="11375999" cy="664797"/>
          </a:xfrm>
        </p:spPr>
        <p:txBody>
          <a:bodyPr vert="horz"/>
          <a:lstStyle/>
          <a:p>
            <a:r>
              <a:rPr lang="de-DE" dirty="0"/>
              <a:t>Simple </a:t>
            </a:r>
            <a:r>
              <a:rPr lang="de-DE" dirty="0" err="1"/>
              <a:t>stocking</a:t>
            </a:r>
            <a:r>
              <a:rPr lang="de-DE" dirty="0"/>
              <a:t> after </a:t>
            </a:r>
            <a:r>
              <a:rPr lang="de-DE" dirty="0" err="1"/>
              <a:t>promotion</a:t>
            </a:r>
            <a:r>
              <a:rPr lang="de-DE" dirty="0"/>
              <a:t> (</a:t>
            </a:r>
            <a:r>
              <a:rPr lang="de-DE" dirty="0" err="1"/>
              <a:t>leftovers</a:t>
            </a:r>
            <a:r>
              <a:rPr lang="de-DE" dirty="0"/>
              <a:t>) and simple-set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key</a:t>
            </a:r>
            <a:r>
              <a:rPr lang="de-DE" dirty="0"/>
              <a:t> </a:t>
            </a:r>
            <a:r>
              <a:rPr lang="de-DE" dirty="0" err="1"/>
              <a:t>decision</a:t>
            </a:r>
            <a:r>
              <a:rPr lang="de-DE" dirty="0"/>
              <a:t> </a:t>
            </a:r>
            <a:r>
              <a:rPr lang="de-DE" dirty="0" err="1"/>
              <a:t>criteria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a </a:t>
            </a:r>
            <a:r>
              <a:rPr lang="de-DE" dirty="0" err="1"/>
              <a:t>display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3732CC-18C1-4523-AC80-19552F3E7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61025-98FF-4C1D-96AB-5CF6019945B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8" name="Datumsplatzhalter 27">
            <a:extLst>
              <a:ext uri="{FF2B5EF4-FFF2-40B4-BE49-F238E27FC236}">
                <a16:creationId xmlns:a16="http://schemas.microsoft.com/office/drawing/2014/main" id="{42337C87-68B1-4C73-8B87-322AAD83B5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99" y="6562889"/>
            <a:ext cx="694520" cy="138499"/>
          </a:xfrm>
        </p:spPr>
        <p:txBody>
          <a:bodyPr/>
          <a:lstStyle/>
          <a:p>
            <a:fld id="{13CF5F03-E195-47E2-A3BC-136F33F1F7C1}" type="datetime1">
              <a:rPr lang="de-DE" smtClean="0"/>
              <a:t>03.11.2023</a:t>
            </a:fld>
            <a:endParaRPr lang="en-US" dirty="0"/>
          </a:p>
        </p:txBody>
      </p:sp>
      <p:sp>
        <p:nvSpPr>
          <p:cNvPr id="12" name="Fußzeilenplatzhalter 32">
            <a:extLst>
              <a:ext uri="{FF2B5EF4-FFF2-40B4-BE49-F238E27FC236}">
                <a16:creationId xmlns:a16="http://schemas.microsoft.com/office/drawing/2014/main" id="{85548716-BD7C-46E6-8CC3-2F7EAE1DF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0144" y="6571519"/>
            <a:ext cx="7564290" cy="138499"/>
          </a:xfrm>
        </p:spPr>
        <p:txBody>
          <a:bodyPr/>
          <a:lstStyle/>
          <a:p>
            <a:r>
              <a:rPr lang="de-DE"/>
              <a:t>Handelsbefragung Zweitplatzierung / © 2023 Bormann &amp; Gordon GmbH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8188C1F-D51F-211B-40D2-87B2EC3BB1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99" y="986799"/>
            <a:ext cx="11376000" cy="246221"/>
          </a:xfrm>
        </p:spPr>
        <p:txBody>
          <a:bodyPr/>
          <a:lstStyle/>
          <a:p>
            <a:r>
              <a:rPr lang="en-GB" sz="1600" b="0" i="0" dirty="0">
                <a:solidFill>
                  <a:srgbClr val="374151"/>
                </a:solidFill>
                <a:effectLst/>
                <a:latin typeface="Söhne"/>
              </a:rPr>
              <a:t>How important are the following aspects for your </a:t>
            </a:r>
            <a:r>
              <a:rPr lang="en-GB" sz="1600" b="1" i="0" u="sng" dirty="0">
                <a:solidFill>
                  <a:srgbClr val="374151"/>
                </a:solidFill>
                <a:effectLst/>
                <a:latin typeface="Söhne"/>
              </a:rPr>
              <a:t>display</a:t>
            </a:r>
            <a:r>
              <a:rPr lang="en-GB" sz="1600" b="0" i="0" dirty="0">
                <a:solidFill>
                  <a:srgbClr val="374151"/>
                </a:solidFill>
                <a:effectLst/>
                <a:latin typeface="Söhne"/>
              </a:rPr>
              <a:t> decision? (On a scale of 1 to 5, where 1 means 'unimportant' and 5 means 'very important)</a:t>
            </a:r>
            <a:endParaRPr lang="de-DE" dirty="0"/>
          </a:p>
        </p:txBody>
      </p:sp>
      <p:sp>
        <p:nvSpPr>
          <p:cNvPr id="303" name="Textfeld 302">
            <a:extLst>
              <a:ext uri="{FF2B5EF4-FFF2-40B4-BE49-F238E27FC236}">
                <a16:creationId xmlns:a16="http://schemas.microsoft.com/office/drawing/2014/main" id="{58F47C1F-5578-2BB4-C698-A69F8C7709BE}"/>
              </a:ext>
            </a:extLst>
          </p:cNvPr>
          <p:cNvSpPr txBox="1"/>
          <p:nvPr/>
        </p:nvSpPr>
        <p:spPr>
          <a:xfrm>
            <a:off x="11224030" y="5821151"/>
            <a:ext cx="545834" cy="27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endParaRPr lang="de-DE" sz="1000" dirty="0"/>
          </a:p>
        </p:txBody>
      </p:sp>
      <p:graphicFrame>
        <p:nvGraphicFramePr>
          <p:cNvPr id="127" name="Chart 3">
            <a:extLst>
              <a:ext uri="{FF2B5EF4-FFF2-40B4-BE49-F238E27FC236}">
                <a16:creationId xmlns:a16="http://schemas.microsoft.com/office/drawing/2014/main" id="{2F606BB5-4A39-49C0-B28B-FB4D171BA17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076908"/>
              </p:ext>
            </p:extLst>
          </p:nvPr>
        </p:nvGraphicFramePr>
        <p:xfrm>
          <a:off x="3498850" y="2090738"/>
          <a:ext cx="7489825" cy="3951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59830E58-1B1E-4231-868F-5F1DD43BB521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H="1" flipV="1">
            <a:off x="3619500" y="3454400"/>
            <a:ext cx="106363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8DBA0FE6-CFE7-4F8F-94E5-ED6C2E3FD9B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 flipV="1">
            <a:off x="3657600" y="2508250"/>
            <a:ext cx="68263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5E4B5BE-3B27-43C4-B0DD-4BC244F5798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 flipV="1">
            <a:off x="3657600" y="4402138"/>
            <a:ext cx="68263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22263" y="2319338"/>
            <a:ext cx="3095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/>
              <a:t>Simple </a:t>
            </a:r>
            <a:r>
              <a:rPr lang="de-DE" altLang="en-US" sz="1200" dirty="0" err="1"/>
              <a:t>stocking</a:t>
            </a:r>
            <a:r>
              <a:rPr lang="de-DE" altLang="en-US" sz="1200" dirty="0"/>
              <a:t> (</a:t>
            </a:r>
            <a:r>
              <a:rPr lang="de-DE" altLang="en-US" sz="1200" dirty="0" err="1"/>
              <a:t>shelf</a:t>
            </a:r>
            <a:r>
              <a:rPr lang="de-DE" altLang="en-US" sz="1200" dirty="0"/>
              <a:t>) after </a:t>
            </a:r>
            <a:r>
              <a:rPr lang="de-DE" altLang="en-US" sz="1200" dirty="0" err="1"/>
              <a:t>promotion</a:t>
            </a:r>
            <a:endParaRPr lang="de-DE" sz="1200" dirty="0"/>
          </a:p>
        </p:txBody>
      </p:sp>
      <p:sp>
        <p:nvSpPr>
          <p:cNvPr id="72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19175" y="2792413"/>
            <a:ext cx="23987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/>
              <a:t>Simple </a:t>
            </a:r>
            <a:r>
              <a:rPr lang="de-DE" altLang="en-US" sz="1200" dirty="0" err="1"/>
              <a:t>set-up</a:t>
            </a:r>
            <a:r>
              <a:rPr lang="de-DE" altLang="en-US" sz="1200" dirty="0"/>
              <a:t> (</a:t>
            </a:r>
            <a:r>
              <a:rPr lang="de-DE" altLang="en-US" sz="1200" dirty="0" err="1"/>
              <a:t>ready</a:t>
            </a:r>
            <a:r>
              <a:rPr lang="de-DE" altLang="en-US" sz="1200" dirty="0"/>
              <a:t> </a:t>
            </a:r>
            <a:r>
              <a:rPr lang="de-DE" altLang="en-US" sz="1200" dirty="0" err="1"/>
              <a:t>to</a:t>
            </a:r>
            <a:r>
              <a:rPr lang="de-DE" altLang="en-US" sz="1200" dirty="0"/>
              <a:t> </a:t>
            </a:r>
            <a:r>
              <a:rPr lang="de-DE" altLang="en-US" sz="1200" dirty="0" err="1"/>
              <a:t>sell</a:t>
            </a:r>
            <a:r>
              <a:rPr lang="de-DE" altLang="en-US" sz="1200" dirty="0"/>
              <a:t>)</a:t>
            </a:r>
            <a:endParaRPr lang="de-DE" sz="1200" dirty="0"/>
          </a:p>
        </p:txBody>
      </p:sp>
      <p:sp>
        <p:nvSpPr>
          <p:cNvPr id="73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495425" y="3173413"/>
            <a:ext cx="19224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/>
              <a:t>Attractive appearance,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/>
              <a:t> even when halfway sold out</a:t>
            </a:r>
            <a:endParaRPr lang="de-DE" sz="1200" dirty="0"/>
          </a:p>
        </p:txBody>
      </p:sp>
      <p:sp>
        <p:nvSpPr>
          <p:cNvPr id="74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76300" y="3738563"/>
            <a:ext cx="2541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 err="1"/>
              <a:t>Attractive</a:t>
            </a:r>
            <a:r>
              <a:rPr lang="de-DE" altLang="en-US" sz="1200" dirty="0"/>
              <a:t> design / Eye </a:t>
            </a:r>
            <a:r>
              <a:rPr lang="de-DE" altLang="en-US" sz="1200" dirty="0" err="1"/>
              <a:t>catcher</a:t>
            </a:r>
            <a:endParaRPr lang="de-DE" sz="1200" dirty="0"/>
          </a:p>
        </p:txBody>
      </p:sp>
      <p:sp>
        <p:nvSpPr>
          <p:cNvPr id="75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39763" y="4213225"/>
            <a:ext cx="2778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 err="1"/>
              <a:t>Selling</a:t>
            </a:r>
            <a:r>
              <a:rPr lang="de-DE" altLang="en-US" sz="1200" dirty="0"/>
              <a:t> </a:t>
            </a:r>
            <a:r>
              <a:rPr lang="de-DE" altLang="en-US" sz="1200" dirty="0" err="1"/>
              <a:t>within</a:t>
            </a:r>
            <a:r>
              <a:rPr lang="de-DE" altLang="en-US" sz="1200" dirty="0"/>
              <a:t> 2 </a:t>
            </a:r>
            <a:r>
              <a:rPr lang="de-DE" altLang="en-US" sz="1200" dirty="0" err="1"/>
              <a:t>weeks</a:t>
            </a:r>
            <a:endParaRPr lang="de-DE" sz="1200" dirty="0"/>
          </a:p>
        </p:txBody>
      </p:sp>
      <p:sp>
        <p:nvSpPr>
          <p:cNvPr id="76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27075" y="4686300"/>
            <a:ext cx="2690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 err="1"/>
              <a:t>Selling</a:t>
            </a:r>
            <a:r>
              <a:rPr lang="de-DE" altLang="en-US" sz="1200" dirty="0"/>
              <a:t> </a:t>
            </a:r>
            <a:r>
              <a:rPr lang="de-DE" altLang="en-US" sz="1200" dirty="0" err="1"/>
              <a:t>within</a:t>
            </a:r>
            <a:r>
              <a:rPr lang="de-DE" altLang="en-US" sz="1200" dirty="0"/>
              <a:t> 1 </a:t>
            </a:r>
            <a:r>
              <a:rPr lang="de-DE" altLang="en-US" sz="1200" dirty="0" err="1"/>
              <a:t>week</a:t>
            </a:r>
            <a:endParaRPr lang="de-DE" sz="1200" dirty="0"/>
          </a:p>
        </p:txBody>
      </p:sp>
      <p:sp>
        <p:nvSpPr>
          <p:cNvPr id="77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38175" y="5159375"/>
            <a:ext cx="27797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/>
              <a:t>Max. Display </a:t>
            </a:r>
            <a:r>
              <a:rPr lang="de-DE" altLang="en-US" sz="1200" dirty="0" err="1"/>
              <a:t>height</a:t>
            </a:r>
            <a:r>
              <a:rPr lang="de-DE" altLang="en-US" sz="1200" dirty="0"/>
              <a:t> </a:t>
            </a:r>
            <a:r>
              <a:rPr lang="de-DE" altLang="en-US" sz="1200" dirty="0" err="1"/>
              <a:t>of</a:t>
            </a:r>
            <a:r>
              <a:rPr lang="de-DE" altLang="en-US" sz="1200" dirty="0"/>
              <a:t> 1,6m</a:t>
            </a:r>
            <a:endParaRPr lang="de-DE" sz="1200" dirty="0"/>
          </a:p>
        </p:txBody>
      </p:sp>
      <p:sp>
        <p:nvSpPr>
          <p:cNvPr id="78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644650" y="5632450"/>
            <a:ext cx="1773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/>
              <a:t>Consumer relevant </a:t>
            </a:r>
            <a:r>
              <a:rPr lang="de-DE" altLang="en-US" sz="1200" dirty="0" err="1"/>
              <a:t>topic</a:t>
            </a:r>
            <a:endParaRPr lang="de-DE" sz="1200" dirty="0"/>
          </a:p>
        </p:txBody>
      </p:sp>
      <p:sp>
        <p:nvSpPr>
          <p:cNvPr id="112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538538" y="5632450"/>
            <a:ext cx="239713" cy="182563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158454-98C8-4DEA-99CB-F2570B71510A}" type="datetime'''''''''''''''''''''''''''''''2''''''''''''''''''''%'''''">
              <a:rPr lang="de-DE" altLang="en-US" sz="12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16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538538" y="3738563"/>
            <a:ext cx="239713" cy="182563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E8A91E2-FCD7-4818-A9E7-9DF07489CC23}" type="datetime'''''''''''''''''''''''''2''''''''''''%'''''''''''''">
              <a:rPr lang="de-DE" altLang="en-US" sz="12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426B6F44-01A8-4E98-9F1D-4FB771A8354B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509963" y="1533525"/>
            <a:ext cx="214313" cy="16033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7FF84BB-8F53-4075-8849-ADEA54658893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051425" y="1533525"/>
            <a:ext cx="214313" cy="160338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4348668-F2EE-4A77-9472-1C8EE128378D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514975" y="1533525"/>
            <a:ext cx="214313" cy="160338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EFA59F1-E653-4BC7-B422-86BE72B3B43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978525" y="1533525"/>
            <a:ext cx="214313" cy="1603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C7FBE0C-89D7-4B66-8A81-E66F8B561D34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442075" y="1533525"/>
            <a:ext cx="214313" cy="160338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89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775075" y="1528763"/>
            <a:ext cx="11747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/>
              <a:t>1 not </a:t>
            </a:r>
            <a:r>
              <a:rPr lang="de-DE" altLang="en-US" sz="1200" dirty="0" err="1"/>
              <a:t>important</a:t>
            </a:r>
            <a:endParaRPr lang="de-DE" sz="1200" dirty="0"/>
          </a:p>
        </p:txBody>
      </p:sp>
      <p:sp>
        <p:nvSpPr>
          <p:cNvPr id="93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316538" y="1528763"/>
            <a:ext cx="96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BEBE916-F83C-4A0C-9A8B-FE63D2F5F514}" type="datetime'''''''''''2''''''''''''''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de-DE" sz="1200" dirty="0"/>
          </a:p>
        </p:txBody>
      </p:sp>
      <p:sp>
        <p:nvSpPr>
          <p:cNvPr id="95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780088" y="1528763"/>
            <a:ext cx="96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2EF173-7EFF-4E23-8FF3-7554FE68C539}" type="datetime'''3''''''''''''''''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de-DE" sz="1200" dirty="0"/>
          </a:p>
        </p:txBody>
      </p:sp>
      <p:sp>
        <p:nvSpPr>
          <p:cNvPr id="94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243638" y="1528763"/>
            <a:ext cx="96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76C19B-CFB7-4461-AD06-E3AEB27D051B}" type="datetime'''''''''4'''''''">
              <a:rPr lang="de-DE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de-DE" sz="1200" dirty="0"/>
          </a:p>
        </p:txBody>
      </p:sp>
      <p:sp>
        <p:nvSpPr>
          <p:cNvPr id="92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707188" y="1528763"/>
            <a:ext cx="1000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dirty="0"/>
              <a:t>5 </a:t>
            </a:r>
            <a:r>
              <a:rPr lang="de-DE" altLang="en-US" sz="1200" dirty="0" err="1"/>
              <a:t>very</a:t>
            </a:r>
            <a:r>
              <a:rPr lang="de-DE" altLang="en-US" sz="1200" dirty="0"/>
              <a:t> </a:t>
            </a:r>
            <a:r>
              <a:rPr lang="de-DE" altLang="en-US" sz="1200" dirty="0" err="1"/>
              <a:t>important</a:t>
            </a:r>
            <a:endParaRPr lang="de-DE" sz="1200" dirty="0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1A31AC5-730E-4D55-B91A-63532B870AD4}"/>
              </a:ext>
            </a:extLst>
          </p:cNvPr>
          <p:cNvSpPr/>
          <p:nvPr/>
        </p:nvSpPr>
        <p:spPr>
          <a:xfrm>
            <a:off x="4983116" y="2222549"/>
            <a:ext cx="6086521" cy="2356331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32D6648-2638-6C49-A977-B26FC852A7B8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6556" y="5551704"/>
            <a:ext cx="447241" cy="44724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58933297-8453-6666-DFAF-9FD3D1E90F67}"/>
              </a:ext>
            </a:extLst>
          </p:cNvPr>
          <p:cNvSpPr txBox="1"/>
          <p:nvPr/>
        </p:nvSpPr>
        <p:spPr>
          <a:xfrm>
            <a:off x="9078012" y="5959151"/>
            <a:ext cx="2645785" cy="6037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de-DE" sz="1000" dirty="0"/>
              <a:t>n=100</a:t>
            </a:r>
            <a:br>
              <a:rPr lang="de-DE" sz="1000" dirty="0"/>
            </a:br>
            <a:r>
              <a:rPr lang="de-DE" sz="1000" dirty="0"/>
              <a:t>Edeka n= 51; REWE n=49</a:t>
            </a:r>
            <a:br>
              <a:rPr lang="de-DE" sz="1000" dirty="0"/>
            </a:br>
            <a:r>
              <a:rPr lang="de-DE" sz="1000" dirty="0"/>
              <a:t>VMG n=26; VMK n=74</a:t>
            </a:r>
          </a:p>
        </p:txBody>
      </p:sp>
    </p:spTree>
    <p:extLst>
      <p:ext uri="{BB962C8B-B14F-4D97-AF65-F5344CB8AC3E}">
        <p14:creationId xmlns:p14="http://schemas.microsoft.com/office/powerpoint/2010/main" val="40751305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F76BEA4-0800-4058-BE46-A20300DB9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8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444" imgH="446" progId="TCLayout.ActiveDocument.1">
                  <p:embed/>
                </p:oleObj>
              </mc:Choice>
              <mc:Fallback>
                <p:oleObj name="think-cell Folie" r:id="rId23" imgW="444" imgH="4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F76BEA4-0800-4058-BE46-A20300DB9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15BCA384-8405-4911-B263-9B8F98A40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8" y="141254"/>
            <a:ext cx="11375999" cy="664797"/>
          </a:xfrm>
        </p:spPr>
        <p:txBody>
          <a:bodyPr vert="horz"/>
          <a:lstStyle/>
          <a:p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Sustainability is important, but decoration is more important (except for VMG); </a:t>
            </a:r>
            <a:br>
              <a:rPr lang="en-GB" b="0" i="0" dirty="0">
                <a:solidFill>
                  <a:srgbClr val="374151"/>
                </a:solidFill>
                <a:effectLst/>
                <a:latin typeface="Söhne"/>
              </a:rPr>
            </a:br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Paper is the preferred materia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3732CC-18C1-4523-AC80-19552F3E7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61025-98FF-4C1D-96AB-5CF6019945B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8" name="Datumsplatzhalter 27">
            <a:extLst>
              <a:ext uri="{FF2B5EF4-FFF2-40B4-BE49-F238E27FC236}">
                <a16:creationId xmlns:a16="http://schemas.microsoft.com/office/drawing/2014/main" id="{42337C87-68B1-4C73-8B87-322AAD83B5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99" y="6562889"/>
            <a:ext cx="694520" cy="138499"/>
          </a:xfrm>
        </p:spPr>
        <p:txBody>
          <a:bodyPr/>
          <a:lstStyle/>
          <a:p>
            <a:fld id="{13CF5F03-E195-47E2-A3BC-136F33F1F7C1}" type="datetime1">
              <a:rPr lang="de-DE" smtClean="0"/>
              <a:t>03.11.2023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8188C1F-D51F-211B-40D2-87B2EC3BB1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99" y="977372"/>
            <a:ext cx="11376000" cy="246221"/>
          </a:xfrm>
        </p:spPr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mporta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oncerning</a:t>
            </a:r>
            <a:r>
              <a:rPr lang="de-DE" dirty="0"/>
              <a:t> </a:t>
            </a:r>
            <a:r>
              <a:rPr lang="de-DE" dirty="0" err="1"/>
              <a:t>display</a:t>
            </a:r>
            <a:r>
              <a:rPr lang="de-DE" dirty="0"/>
              <a:t> material (</a:t>
            </a:r>
            <a:r>
              <a:rPr lang="de-DE" dirty="0" err="1"/>
              <a:t>sustainability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attractive</a:t>
            </a:r>
            <a:r>
              <a:rPr lang="de-DE" dirty="0"/>
              <a:t> design and </a:t>
            </a:r>
            <a:r>
              <a:rPr lang="de-DE" dirty="0" err="1"/>
              <a:t>plastic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paper</a:t>
            </a:r>
            <a:r>
              <a:rPr lang="de-DE" dirty="0"/>
              <a:t>)?</a:t>
            </a:r>
          </a:p>
        </p:txBody>
      </p:sp>
      <p:sp>
        <p:nvSpPr>
          <p:cNvPr id="303" name="Textfeld 302">
            <a:extLst>
              <a:ext uri="{FF2B5EF4-FFF2-40B4-BE49-F238E27FC236}">
                <a16:creationId xmlns:a16="http://schemas.microsoft.com/office/drawing/2014/main" id="{58F47C1F-5578-2BB4-C698-A69F8C7709BE}"/>
              </a:ext>
            </a:extLst>
          </p:cNvPr>
          <p:cNvSpPr txBox="1"/>
          <p:nvPr/>
        </p:nvSpPr>
        <p:spPr>
          <a:xfrm>
            <a:off x="11224030" y="5344901"/>
            <a:ext cx="545834" cy="2752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endParaRPr lang="de-DE" sz="1000" dirty="0"/>
          </a:p>
        </p:txBody>
      </p:sp>
      <p:graphicFrame>
        <p:nvGraphicFramePr>
          <p:cNvPr id="42" name="Chart 3">
            <a:extLst>
              <a:ext uri="{FF2B5EF4-FFF2-40B4-BE49-F238E27FC236}">
                <a16:creationId xmlns:a16="http://schemas.microsoft.com/office/drawing/2014/main" id="{436FAC65-EABA-481D-BA35-F9DD985DAE4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695631"/>
              </p:ext>
            </p:extLst>
          </p:nvPr>
        </p:nvGraphicFramePr>
        <p:xfrm>
          <a:off x="819150" y="2608263"/>
          <a:ext cx="4373563" cy="2767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72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63538" y="2873375"/>
            <a:ext cx="452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99E41EB-4418-4549-8D91-6A04C3E9DE6C}" type="datetime'''''''G''''e''''''''s''a''''''m''''''''''''''t'''''">
              <a:rPr lang="de-DE" altLang="en-US" sz="1000" smtClean="0"/>
              <a:pPr/>
              <a:t>Gesamt</a:t>
            </a:fld>
            <a:endParaRPr lang="de-DE" sz="1000" dirty="0"/>
          </a:p>
        </p:txBody>
      </p:sp>
      <p:sp>
        <p:nvSpPr>
          <p:cNvPr id="73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61963" y="3394075"/>
            <a:ext cx="354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296FC0-CEAC-4F3B-BBD5-994DE8114353}" type="datetime'E''''''''''''''''d''''''''''''''''''''''''''''''e''ka'''''''">
              <a:rPr lang="de-DE" altLang="en-US" sz="1000" smtClean="0"/>
              <a:pPr/>
              <a:t>Edeka</a:t>
            </a:fld>
            <a:endParaRPr lang="de-DE" sz="1000" dirty="0"/>
          </a:p>
        </p:txBody>
      </p:sp>
      <p:sp>
        <p:nvSpPr>
          <p:cNvPr id="49" name="Textplatzhalter 17">
            <a:extLst>
              <a:ext uri="{FF2B5EF4-FFF2-40B4-BE49-F238E27FC236}">
                <a16:creationId xmlns:a16="http://schemas.microsoft.com/office/drawing/2014/main" id="{14C8B1D2-B22A-4DEC-B394-0D5B4331618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33388" y="3914775"/>
            <a:ext cx="3825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87510A-631A-466C-8FF9-A24035139C53}" type="datetime'''''''''R''''''E''''''''''''''''''''W''''''''''E'''''''''''''">
              <a:rPr lang="de-DE" altLang="en-US" sz="1000" smtClean="0"/>
              <a:pPr/>
              <a:t>REWE</a:t>
            </a:fld>
            <a:endParaRPr lang="de-DE" sz="1000" dirty="0"/>
          </a:p>
        </p:txBody>
      </p:sp>
      <p:sp>
        <p:nvSpPr>
          <p:cNvPr id="50" name="Textplatzhalter 17">
            <a:extLst>
              <a:ext uri="{FF2B5EF4-FFF2-40B4-BE49-F238E27FC236}">
                <a16:creationId xmlns:a16="http://schemas.microsoft.com/office/drawing/2014/main" id="{2650F2CC-75CC-4DC2-9190-D2F31102ACB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12763" y="4433888"/>
            <a:ext cx="303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DDC105A-D78C-427A-9246-B96FE27EC2C6}" type="datetime'''''''V''''''''''''M''''''''''G'''''''''''''''''''''">
              <a:rPr lang="de-DE" altLang="en-US" sz="1000" smtClean="0"/>
              <a:pPr/>
              <a:t>VMG</a:t>
            </a:fld>
            <a:endParaRPr lang="de-DE" sz="1000" dirty="0"/>
          </a:p>
        </p:txBody>
      </p:sp>
      <p:sp>
        <p:nvSpPr>
          <p:cNvPr id="51" name="Textplatzhalter 17">
            <a:extLst>
              <a:ext uri="{FF2B5EF4-FFF2-40B4-BE49-F238E27FC236}">
                <a16:creationId xmlns:a16="http://schemas.microsoft.com/office/drawing/2014/main" id="{22077425-ED75-4FAB-9D82-0458685E579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23875" y="49545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8063CF7-9F14-498E-B2A7-AFF27CD5CC67}" type="datetime'''''''''''''''''V''''''''''''''''''M''K'''''''''''''''''''''''">
              <a:rPr lang="de-DE" altLang="en-US" sz="1000" smtClean="0"/>
              <a:pPr/>
              <a:t>VMK</a:t>
            </a:fld>
            <a:endParaRPr lang="de-DE" sz="1000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426B6F44-01A8-4E98-9F1D-4FB771A8354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52500" y="2289175"/>
            <a:ext cx="179388" cy="133350"/>
          </a:xfrm>
          <a:prstGeom prst="rect">
            <a:avLst/>
          </a:prstGeom>
          <a:solidFill>
            <a:srgbClr val="7EB53C"/>
          </a:solidFill>
          <a:ln>
            <a:noFill/>
          </a:ln>
          <a:effectLst/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7FF84BB-8F53-4075-8849-ADEA5465889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52500" y="2492375"/>
            <a:ext cx="179388" cy="133350"/>
          </a:xfrm>
          <a:prstGeom prst="rect">
            <a:avLst/>
          </a:prstGeom>
          <a:solidFill>
            <a:srgbClr val="F7C92D"/>
          </a:solidFill>
          <a:ln>
            <a:noFill/>
          </a:ln>
          <a:effectLst/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89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182688" y="2284413"/>
            <a:ext cx="8493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000" dirty="0" err="1"/>
              <a:t>Sustainablity</a:t>
            </a:r>
            <a:endParaRPr lang="de-DE" sz="1000" dirty="0"/>
          </a:p>
        </p:txBody>
      </p:sp>
      <p:sp>
        <p:nvSpPr>
          <p:cNvPr id="93" name="Textplatzhalter 17">
            <a:extLst>
              <a:ext uri="{FF2B5EF4-FFF2-40B4-BE49-F238E27FC236}">
                <a16:creationId xmlns:a16="http://schemas.microsoft.com/office/drawing/2014/main" id="{5A3703F7-A5BB-4DFB-85ED-65A82FAD2C7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82688" y="2487613"/>
            <a:ext cx="9175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000" dirty="0" err="1"/>
              <a:t>Attractive</a:t>
            </a:r>
            <a:r>
              <a:rPr lang="de-DE" altLang="en-US" sz="1000" dirty="0"/>
              <a:t> design</a:t>
            </a:r>
            <a:endParaRPr lang="de-DE" sz="1000" dirty="0"/>
          </a:p>
        </p:txBody>
      </p:sp>
      <p:sp>
        <p:nvSpPr>
          <p:cNvPr id="127" name="Textfeld 126">
            <a:extLst>
              <a:ext uri="{FF2B5EF4-FFF2-40B4-BE49-F238E27FC236}">
                <a16:creationId xmlns:a16="http://schemas.microsoft.com/office/drawing/2014/main" id="{A555A079-C679-4FAB-B521-448B63558E3A}"/>
              </a:ext>
            </a:extLst>
          </p:cNvPr>
          <p:cNvSpPr txBox="1"/>
          <p:nvPr/>
        </p:nvSpPr>
        <p:spPr>
          <a:xfrm>
            <a:off x="386282" y="1643063"/>
            <a:ext cx="4648761" cy="517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ustainability</a:t>
            </a:r>
            <a:r>
              <a:rPr lang="de-D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s</a:t>
            </a:r>
            <a:r>
              <a:rPr lang="de-D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ttractive</a:t>
            </a:r>
            <a:r>
              <a:rPr lang="de-D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esign</a:t>
            </a:r>
          </a:p>
          <a:p>
            <a:pPr algn="ctr"/>
            <a:r>
              <a:rPr lang="de-DE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eference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43" name="Chart 3">
            <a:extLst>
              <a:ext uri="{FF2B5EF4-FFF2-40B4-BE49-F238E27FC236}">
                <a16:creationId xmlns:a16="http://schemas.microsoft.com/office/drawing/2014/main" id="{BDB9E845-1CC5-4B51-ADD5-DBB5FD8C052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37135480"/>
              </p:ext>
            </p:extLst>
          </p:nvPr>
        </p:nvGraphicFramePr>
        <p:xfrm>
          <a:off x="5816600" y="2608263"/>
          <a:ext cx="4373563" cy="2767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80" name="Textplatzhalter 17">
            <a:extLst>
              <a:ext uri="{FF2B5EF4-FFF2-40B4-BE49-F238E27FC236}">
                <a16:creationId xmlns:a16="http://schemas.microsoft.com/office/drawing/2014/main" id="{A21BAA19-44BA-4F7F-B1E0-8CB9B261164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346700" y="2873375"/>
            <a:ext cx="452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F0AD182-FE8C-411C-9A00-1E6F0FD32B2B}" type="datetime'''''''''G''''e''''''''''s''''''''a''''''''m''''''''''t'">
              <a:rPr lang="de-DE" altLang="en-US" sz="1000" smtClean="0"/>
              <a:pPr/>
              <a:t>Gesamt</a:t>
            </a:fld>
            <a:endParaRPr lang="de-DE" sz="1000" dirty="0"/>
          </a:p>
        </p:txBody>
      </p:sp>
      <p:sp>
        <p:nvSpPr>
          <p:cNvPr id="82" name="Textplatzhalter 17">
            <a:extLst>
              <a:ext uri="{FF2B5EF4-FFF2-40B4-BE49-F238E27FC236}">
                <a16:creationId xmlns:a16="http://schemas.microsoft.com/office/drawing/2014/main" id="{3167AA6C-6716-42A5-9A75-7EC94EB2F84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45125" y="3394075"/>
            <a:ext cx="354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5A60039-5ABB-45F9-8BE7-0FF0F570EF5D}" type="datetime'''''''Ed''''''ek''''''''a'''''''''''''">
              <a:rPr lang="de-DE" altLang="en-US" sz="1000" smtClean="0"/>
              <a:pPr/>
              <a:t>Edeka</a:t>
            </a:fld>
            <a:endParaRPr lang="de-DE" sz="1000" dirty="0"/>
          </a:p>
        </p:txBody>
      </p:sp>
      <p:sp>
        <p:nvSpPr>
          <p:cNvPr id="83" name="Textplatzhalter 17">
            <a:extLst>
              <a:ext uri="{FF2B5EF4-FFF2-40B4-BE49-F238E27FC236}">
                <a16:creationId xmlns:a16="http://schemas.microsoft.com/office/drawing/2014/main" id="{6BCFA41E-4ADC-4AA1-ACCA-2BB889BB79B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416550" y="3914775"/>
            <a:ext cx="3825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8B81035-8B2F-49F9-B65D-4326754B1876}" type="datetime'''''R''''''''''''''''''''E''W''''''''E'''''''''''''''''''">
              <a:rPr lang="de-DE" altLang="en-US" sz="1000" smtClean="0"/>
              <a:pPr/>
              <a:t>REWE</a:t>
            </a:fld>
            <a:endParaRPr lang="de-DE" sz="1000" dirty="0"/>
          </a:p>
        </p:txBody>
      </p:sp>
      <p:sp>
        <p:nvSpPr>
          <p:cNvPr id="84" name="Textplatzhalter 17">
            <a:extLst>
              <a:ext uri="{FF2B5EF4-FFF2-40B4-BE49-F238E27FC236}">
                <a16:creationId xmlns:a16="http://schemas.microsoft.com/office/drawing/2014/main" id="{42F1E764-E3BA-4602-B3A0-55356D1851A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495925" y="4433888"/>
            <a:ext cx="303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FBDFA4-8866-434E-91D2-88A48947F4F9}" type="datetime'''V''''''''''''''''''''''''M''''''''''''''''''G'''">
              <a:rPr lang="de-DE" altLang="en-US" sz="1000" smtClean="0"/>
              <a:pPr/>
              <a:t>VMG</a:t>
            </a:fld>
            <a:endParaRPr lang="de-DE" sz="1000" dirty="0"/>
          </a:p>
        </p:txBody>
      </p:sp>
      <p:sp>
        <p:nvSpPr>
          <p:cNvPr id="85" name="Textplatzhalter 17">
            <a:extLst>
              <a:ext uri="{FF2B5EF4-FFF2-40B4-BE49-F238E27FC236}">
                <a16:creationId xmlns:a16="http://schemas.microsoft.com/office/drawing/2014/main" id="{E8051301-FEA5-4744-BE30-93C6DF68EAF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07038" y="49545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39A6CF-366B-422A-8447-340AB7A0C7E5}" type="datetime'''''''''''''''VM''K'''''''''''''''''''''''''''">
              <a:rPr lang="de-DE" altLang="en-US" sz="1000" smtClean="0"/>
              <a:pPr/>
              <a:t>VMK</a:t>
            </a:fld>
            <a:endParaRPr lang="de-DE" sz="1000" dirty="0"/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1161E9B-E07B-49A4-A1E0-7FA8EDB587AF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057900" y="2289175"/>
            <a:ext cx="179388" cy="133350"/>
          </a:xfrm>
          <a:prstGeom prst="rect">
            <a:avLst/>
          </a:prstGeom>
          <a:solidFill>
            <a:srgbClr val="C51635"/>
          </a:solidFill>
          <a:ln>
            <a:noFill/>
          </a:ln>
          <a:effectLst/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37F9F741-036E-4940-B376-FD3F46EFF74B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057900" y="2492375"/>
            <a:ext cx="179388" cy="133350"/>
          </a:xfrm>
          <a:prstGeom prst="rect">
            <a:avLst/>
          </a:prstGeom>
          <a:solidFill>
            <a:srgbClr val="FFC38D"/>
          </a:solidFill>
          <a:ln>
            <a:noFill/>
          </a:ln>
          <a:effectLst/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600"/>
              </a:spcBef>
            </a:pP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88" name="Textplatzhalter 17">
            <a:extLst>
              <a:ext uri="{FF2B5EF4-FFF2-40B4-BE49-F238E27FC236}">
                <a16:creationId xmlns:a16="http://schemas.microsoft.com/office/drawing/2014/main" id="{40F7A6CA-0B5B-428D-85F5-1EA7EACFEAF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288088" y="2284413"/>
            <a:ext cx="393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000" dirty="0" err="1"/>
              <a:t>Plastic</a:t>
            </a:r>
            <a:endParaRPr lang="de-DE" sz="1000" dirty="0"/>
          </a:p>
        </p:txBody>
      </p:sp>
      <p:sp>
        <p:nvSpPr>
          <p:cNvPr id="90" name="Textplatzhalter 17">
            <a:extLst>
              <a:ext uri="{FF2B5EF4-FFF2-40B4-BE49-F238E27FC236}">
                <a16:creationId xmlns:a16="http://schemas.microsoft.com/office/drawing/2014/main" id="{20CC634F-1F69-4D35-A563-D5F7ACD7091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288088" y="2487613"/>
            <a:ext cx="371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39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73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51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>
                <a:tab pos="15271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2900" indent="-182563" algn="l" defTabSz="850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000" dirty="0"/>
              <a:t>Paper</a:t>
            </a:r>
            <a:endParaRPr lang="de-DE" sz="1000" dirty="0"/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764DDFC8-B11D-4158-9271-84312342D8D5}"/>
              </a:ext>
            </a:extLst>
          </p:cNvPr>
          <p:cNvSpPr txBox="1"/>
          <p:nvPr/>
        </p:nvSpPr>
        <p:spPr>
          <a:xfrm>
            <a:off x="6503465" y="1682750"/>
            <a:ext cx="3294570" cy="517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 Ideal material </a:t>
            </a:r>
            <a:r>
              <a:rPr lang="de-DE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or</a:t>
            </a:r>
            <a:r>
              <a:rPr lang="de-D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splay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9180BDBA-9AEE-4C57-9075-8988567CFAF5}"/>
              </a:ext>
            </a:extLst>
          </p:cNvPr>
          <p:cNvSpPr/>
          <p:nvPr/>
        </p:nvSpPr>
        <p:spPr>
          <a:xfrm>
            <a:off x="5816600" y="5260975"/>
            <a:ext cx="4504867" cy="739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0" i="0" dirty="0">
                <a:solidFill>
                  <a:srgbClr val="374151"/>
                </a:solidFill>
                <a:effectLst/>
                <a:latin typeface="Söhne"/>
              </a:rPr>
              <a:t>Combination of both; cardboard for temporary displays and wood for enduring placements. Functionality/stability is important. Reusable standees</a:t>
            </a:r>
            <a:endParaRPr lang="de-DE" sz="14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5A28857-311F-13B7-E083-B3BE73D4834A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6556" y="5075454"/>
            <a:ext cx="447241" cy="44724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717B5E63-F611-B51D-E134-506CF6442E66}"/>
              </a:ext>
            </a:extLst>
          </p:cNvPr>
          <p:cNvSpPr txBox="1"/>
          <p:nvPr/>
        </p:nvSpPr>
        <p:spPr>
          <a:xfrm>
            <a:off x="9078012" y="5482901"/>
            <a:ext cx="2645785" cy="6037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de-DE" sz="1000" dirty="0"/>
              <a:t>n=100</a:t>
            </a:r>
            <a:br>
              <a:rPr lang="de-DE" sz="1000" dirty="0"/>
            </a:br>
            <a:r>
              <a:rPr lang="de-DE" sz="1000" dirty="0"/>
              <a:t>Edeka n= 51; REWE n=49</a:t>
            </a:r>
            <a:br>
              <a:rPr lang="de-DE" sz="1000" dirty="0"/>
            </a:br>
            <a:r>
              <a:rPr lang="de-DE" sz="1000" dirty="0"/>
              <a:t>VMG n=26; VMK n=74</a:t>
            </a:r>
          </a:p>
        </p:txBody>
      </p:sp>
    </p:spTree>
    <p:extLst>
      <p:ext uri="{BB962C8B-B14F-4D97-AF65-F5344CB8AC3E}">
        <p14:creationId xmlns:p14="http://schemas.microsoft.com/office/powerpoint/2010/main" val="2484458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IAAAAAAAAAAwAAAAMAAAAA/////wQAM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/XpdbdDvpCupJx+kxtLc4FAAAAAAADAAAAAwADAAAAAQADAAAAAwD///////8DAAIA////////BAAAAAMAEAALAiyLDak07kmaw748TaZwvw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I/XpdbdDvpCupJx+kxtLc4DRGF0YQAbAAAABExpbmtlZFNoYXBlRGF0YQAFAAAAAAACTmFtZQAZAAAATGlua2VkU2hhcGVzRGF0YVByb3BlcnR5ABBWZXJzaW9uAAAAAAAJTGFzdFdyaXRlACNclM53AQAAAAEA/////50AnQAAAAVfaWQAEAAAAAQCLIsNqTTuSZrDvjxNpnC/A0RhdGEAKgAAAAhQcmVzZW50YXRpb25TY2FubmVkRm9yTGlua2VkU2hhcGVzAAEAAk5hbWUAJAAAAExpbmtlZFNoYXBlUHJlc2VudGF0aW9uU2V0dGluZ3NEYXRhABBWZXJzaW9uAAAAAAAJTGFzdFdyaXRlAIBclM5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1"/>
  <p:tag name="EE4P_STYLE_ID" val="6cd991bf-f022-4378-96e7-2c338aeb3f5a"/>
  <p:tag name="THINKCELLPRESENTATIONDONOTDELETE" val="&lt;?xml version=&quot;1.0&quot; encoding=&quot;UTF-16&quot; standalone=&quot;yes&quot;?&gt;&lt;root reqver=&quot;28224&quot;&gt;&lt;version val=&quot;351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0&quot;&gt;&lt;elem m_fUsage=&quot;2.93704744861057465144E+00&quot;&gt;&lt;m_msothmcolidx val=&quot;0&quot;/&gt;&lt;m_rgb r=&quot;FF&quot; g=&quot;C0&quot; b=&quot;00&quot;/&gt;&lt;/elem&gt;&lt;elem m_fUsage=&quot;2.05946721000000021462E+00&quot;&gt;&lt;m_msothmcolidx val=&quot;0&quot;/&gt;&lt;m_rgb r=&quot;F7&quot; g=&quot;C9&quot; b=&quot;2D&quot;/&gt;&lt;/elem&gt;&lt;elem m_fUsage=&quot;1.27007771492754928389E+00&quot;&gt;&lt;m_msothmcolidx val=&quot;0&quot;/&gt;&lt;m_rgb r=&quot;7E&quot; g=&quot;B5&quot; b=&quot;3C&quot;/&gt;&lt;/elem&gt;&lt;elem m_fUsage=&quot;1.00000000000000000000E+00&quot;&gt;&lt;m_msothmcolidx val=&quot;0&quot;/&gt;&lt;m_rgb r=&quot;F4&quot; g=&quot;00&quot; b=&quot;09&quot;/&gt;&lt;/elem&gt;&lt;elem m_fUsage=&quot;9.05606558071499589957E-01&quot;&gt;&lt;m_msothmcolidx val=&quot;0&quot;/&gt;&lt;m_rgb r=&quot;C5&quot; g=&quot;16&quot; b=&quot;35&quot;/&gt;&lt;/elem&gt;&lt;elem m_fUsage=&quot;5.08997143590569467442E-01&quot;&gt;&lt;m_msothmcolidx val=&quot;0&quot;/&gt;&lt;m_rgb r=&quot;FF&quot; g=&quot;C3&quot; b=&quot;8D&quot;/&gt;&lt;/elem&gt;&lt;elem m_fUsage=&quot;3.48678440100000153201E-01&quot;&gt;&lt;m_msothmcolidx val=&quot;0&quot;/&gt;&lt;m_rgb r=&quot;D0&quot; g=&quot;6F&quot; b=&quot;40&quot;/&gt;&lt;/elem&gt;&lt;elem m_fUsage=&quot;3.36338995634939408319E-01&quot;&gt;&lt;m_msothmcolidx val=&quot;0&quot;/&gt;&lt;m_rgb r=&quot;D3&quot; g=&quot;D3&quot; b=&quot;D3&quot;/&gt;&lt;/elem&gt;&lt;elem m_fUsage=&quot;2.45728874275232961333E-01&quot;&gt;&lt;m_msothmcolidx val=&quot;0&quot;/&gt;&lt;m_rgb r=&quot;59&quot; g=&quot;59&quot; b=&quot;59&quot;/&gt;&lt;/elem&gt;&lt;elem m_fUsage=&quot;1.85302018885184188735E-01&quot;&gt;&lt;m_msothmcolidx val=&quot;0&quot;/&gt;&lt;m_rgb r=&quot;92&quot; g=&quot;18&quot; b=&quot;8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9A68B29Z21f7H4fQzh3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J.Vw0wvpwZQl4YdLAxc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EzQIrbggRqy7KjbL81C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5Hazsk9ATgPyhOUOGq2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FaktMtn3Yc_EigA3YlS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9NTmupV56rzMggHmyNT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.kBVN97Ww9VURvorGQ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fJFIM205SBfuXWT2vs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eEY4q7ZJvWe9BFEqdd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OstM.yQsHFMsDOWCGAk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q1ADVRmcqI.ixme242k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nwuBVNS.7y1vyTc__82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wGKoK42VhNL4cKdskJk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Tt4vK4OUh5i.eIITqgv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hN26EfY8HASuOQO6Vu8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EzQIrbggRqy7KjbL81C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5Hazsk9ATgPyhOUOGq2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7c1UPmAylhxzEv630_e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RKqYKvTyj.MHJgoZcM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c4pnL5w7cy5fkrwx1K5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2uoZ6fGFLeLMPpKgrBf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shjDG1uv8Btz6KX6a5c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ySaKq9_GCYyy0TFkzhc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0pqkktqPrszDJtlDP4V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ldVyksKrtHkJzmW8CY2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KusQNzkoqb1hyqtpXG4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mN_ihl3GeDS0MrjqYk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rxTAQjQFk.TVYnnGUP5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dhwVBAlzj0OjIQVJJ6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gQPnPZG6Bbp0VBoIgHf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T3dk8DEIPI5uK.wqojs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EDt.5ugrLgBh9rDG9d6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_WSVhKc.vgmVfrF7ZKV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CQcor1HLKf.fRqizci4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nmSm14zK3u_7ustI3Mk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GPPGlZIW1DHULwPqhwk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1pwtjKCwfIVmTVzhMAD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dS3vyuJNRbg8Ep1UkQm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WrTgDcAANQystpIN_g6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MJ0aAQgQr_fyUMqVCRA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MJ0aAQgQr_fyUMqVCRA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1pwtjKCwfIVmTVzhMAD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RQ0ZVhmLcTVzfNO1goM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oizlNLmKsOpHTuOkLj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TaEbrIc2t8DizdSs66P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_ELumwh8sasSTYlEjr.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l_HAneRJvU7pn0Fj1kF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oXBSnI9TNgzf45.dr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c4pnL5w7cy5fkrwx1K5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gn0nuK0E.MJf3HMkvqP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9dbSJcXxtJdhI6mg4wN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Tc1Ug4Pl0yczs4Do_rM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yWPtUW131UBXm4ZYCAy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c4pnL5w7cy5fkrwx1K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c4pnL5w7cy5fkrwx1K5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c4pnL5w7cy5fkrwx1K5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c4pnL5w7cy5fkrwx1K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R5AB5ZTRs_nn3aG5Ao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c4pnL5w7cy5fkrwx1K5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c4pnL5w7cy5fkrwx1K5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C9pMRrMBVMMItc9L_sk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2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28"/>
  <p:tag name="MIO_HDS" val="True"/>
  <p:tag name="MIO_SKIPVERSION" val="01.01.0001 00:00:00"/>
  <p:tag name="MIO_EKGUID" val="f605657f-fa25-42f1-816e-46f35eb79e05"/>
  <p:tag name="MIO_UPDATE" val="True"/>
  <p:tag name="MIO_VERSION" val="26.02.2021 12:46:56"/>
  <p:tag name="MIO_DBID" val="0F45B44C-9BC7-4D85-81C4-7155EE70A7B9"/>
  <p:tag name="MIO_LASTDOWNLOADED" val="02.03.2021 20:59:16.103"/>
  <p:tag name="MIO_OBJECTNAME" val="BioNTech Master"/>
  <p:tag name="MIO_CDID" val="c9a17c4c-469e-435b-80b5-1bb2f8a16947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GBkOCtjAdvROPVLett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libtEDJsr_RFyOEmt.b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9QO.eMEijJN1IjG4oO_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Cco5ARjAIqDp97OxTC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4xAkDOmqvOCi4.0t2Hb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5J0rLcqcRCOC2lzLw9J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1h92Qt9rQ4I7iNXsLjp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Aahh.gc_2Hv2V.2a2I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WrTgDcAANQystpIN_g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MJ0aAQgQr_fyUMqVCRA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zaMQFoOobt5KuTxepS.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JUXcwbDNX.XCF2.0Stq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Dokqkb6IpP.iV3GRJyl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1luriZnOcsDqSC0SeU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flC5z6zJ4Qi23eoyO81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ulAG76jSTLwU5fjf0E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GBkOCtjAdvROPVLett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4xAkDOmqvOCi4.0t2Hb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Cco5ARjAIqDp97OxTCK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libtEDJsr_RFyOEmt.b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9QO.eMEijJN1IjG4oO_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5J0rLcqcRCOC2lzLw9J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WrTgDcAANQystpIN_g6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MJ0aAQgQr_fyUMqVCRA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GBkOCtjAdvROPVLettg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9QO.eMEijJN1IjG4oO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KR.uX6ml.9XZ._Ra_U4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IwsGQc26R_9DNoGiXtH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Cco5ARjAIqDp97OxTC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libtEDJsr_RFyOEmt.b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4xAkDOmqvOCi4.0t2Hb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5J0rLcqcRCOC2lzLw9J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VplUfmLGesl.pBTyij9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0P6i9ynx6c6s91swAO4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.c_vVsHNkiTiahNXpgN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1.A.vj3.t0R.8of0xoM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WrTgDcAANQystpIN_g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MJ0aAQgQr_fyUMqVCRA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MJ0aAQgQr_fyUMqVCRA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fJFIM205SBfuXWT2vs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pM7_40QwTSA4iCSb7rA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Mkz4ibGnEiLKBL4PQv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k3Tn1VtN_44HVrk.Dcz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BG.9HhZFUhC6RahO3iW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eEY4q7ZJvWe9BFEqddl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OstM.yQsHFMsDOWCGA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c4pnL5w7cy5fkrwx1K5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X0YJU_Msck3cDv.bkZA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KiVvPtsf_8eVNc8TM6L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jcpFz3KP6ugR3KW8PHW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F4J75IMgrEG2RGZP8Gr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oTCYWvQ.7GF6SdEgulg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0h6Sgms.JRDKzB_oUIM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Kej8nlh2HzCGEuINZO1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Tt4vK4OUh5i.eIITqgv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hN26EfY8HASuOQO6Vu8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.dUquCgFwOoDYtd1dJ0w"/>
</p:tagLst>
</file>

<file path=ppt/theme/theme1.xml><?xml version="1.0" encoding="utf-8"?>
<a:theme xmlns:a="http://schemas.openxmlformats.org/drawingml/2006/main" name="D+B_Folienmaster">
  <a:themeElements>
    <a:clrScheme name="Borman&amp;Gordon">
      <a:dk1>
        <a:srgbClr val="1C1C1C"/>
      </a:dk1>
      <a:lt1>
        <a:sysClr val="window" lastClr="FFFFFF"/>
      </a:lt1>
      <a:dk2>
        <a:srgbClr val="B8B8B8"/>
      </a:dk2>
      <a:lt2>
        <a:srgbClr val="E6E6E6"/>
      </a:lt2>
      <a:accent1>
        <a:srgbClr val="43688D"/>
      </a:accent1>
      <a:accent2>
        <a:srgbClr val="10396D"/>
      </a:accent2>
      <a:accent3>
        <a:srgbClr val="161A42"/>
      </a:accent3>
      <a:accent4>
        <a:srgbClr val="35495D"/>
      </a:accent4>
      <a:accent5>
        <a:srgbClr val="9FCD69"/>
      </a:accent5>
      <a:accent6>
        <a:srgbClr val="575757"/>
      </a:accent6>
      <a:hlink>
        <a:srgbClr val="43688D"/>
      </a:hlink>
      <a:folHlink>
        <a:srgbClr val="575757"/>
      </a:folHlink>
    </a:clrScheme>
    <a:fontScheme name="B&amp;D">
      <a:majorFont>
        <a:latin typeface="Cantarell"/>
        <a:ea typeface=""/>
        <a:cs typeface=""/>
      </a:majorFont>
      <a:minorFont>
        <a:latin typeface="Cantar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vert="horz" lIns="72000" tIns="72000" rIns="72000" bIns="72000" rtlCol="0" anchor="ctr">
        <a:noAutofit/>
      </a:bodyPr>
      <a:lstStyle>
        <a:defPPr algn="ctr">
          <a:spcBef>
            <a:spcPts val="600"/>
          </a:spcBef>
          <a:defRPr sz="1200" dirty="0" err="1" smtClean="0">
            <a:solidFill>
              <a:schemeClr val="bg1"/>
            </a:solidFill>
          </a:defRPr>
        </a:defPPr>
      </a:lst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7.01.2021_BioNTech_Master_Folienbibliothek_SB_v12.pptx" id="{905C7E38-CF4F-4906-9A66-AE7CB7034310}" vid="{D0C4E945-D38F-4644-96E5-9CD9B1B3FDB0}"/>
    </a:ext>
  </a:extLst>
</a:theme>
</file>

<file path=ppt/theme/theme2.xml><?xml version="1.0" encoding="utf-8"?>
<a:theme xmlns:a="http://schemas.openxmlformats.org/drawingml/2006/main" name="Office">
  <a:themeElements>
    <a:clrScheme name="MetallRente">
      <a:dk1>
        <a:srgbClr val="000000"/>
      </a:dk1>
      <a:lt1>
        <a:sysClr val="window" lastClr="FFFFFF"/>
      </a:lt1>
      <a:dk2>
        <a:srgbClr val="EDEDED"/>
      </a:dk2>
      <a:lt2>
        <a:srgbClr val="FFFFFF"/>
      </a:lt2>
      <a:accent1>
        <a:srgbClr val="E42313"/>
      </a:accent1>
      <a:accent2>
        <a:srgbClr val="193C61"/>
      </a:accent2>
      <a:accent3>
        <a:srgbClr val="2F52A0"/>
      </a:accent3>
      <a:accent4>
        <a:srgbClr val="4CB4E7"/>
      </a:accent4>
      <a:accent5>
        <a:srgbClr val="78B7E5"/>
      </a:accent5>
      <a:accent6>
        <a:srgbClr val="B0D0EF"/>
      </a:accent6>
      <a:hlink>
        <a:srgbClr val="2F52A0"/>
      </a:hlink>
      <a:folHlink>
        <a:srgbClr val="646464"/>
      </a:folHlink>
    </a:clrScheme>
    <a:fontScheme name="MetallRente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MetallRente">
      <a:dk1>
        <a:srgbClr val="000000"/>
      </a:dk1>
      <a:lt1>
        <a:sysClr val="window" lastClr="FFFFFF"/>
      </a:lt1>
      <a:dk2>
        <a:srgbClr val="EDEDED"/>
      </a:dk2>
      <a:lt2>
        <a:srgbClr val="FFFFFF"/>
      </a:lt2>
      <a:accent1>
        <a:srgbClr val="E42313"/>
      </a:accent1>
      <a:accent2>
        <a:srgbClr val="193C61"/>
      </a:accent2>
      <a:accent3>
        <a:srgbClr val="2F52A0"/>
      </a:accent3>
      <a:accent4>
        <a:srgbClr val="4CB4E7"/>
      </a:accent4>
      <a:accent5>
        <a:srgbClr val="78B7E5"/>
      </a:accent5>
      <a:accent6>
        <a:srgbClr val="B0D0EF"/>
      </a:accent6>
      <a:hlink>
        <a:srgbClr val="2F52A0"/>
      </a:hlink>
      <a:folHlink>
        <a:srgbClr val="646464"/>
      </a:folHlink>
    </a:clrScheme>
    <a:fontScheme name="MetallRente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35</Words>
  <Application>Microsoft Office PowerPoint</Application>
  <PresentationFormat>Breitbild</PresentationFormat>
  <Paragraphs>293</Paragraphs>
  <Slides>11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8" baseType="lpstr">
      <vt:lpstr>Symbol</vt:lpstr>
      <vt:lpstr>Cantarell</vt:lpstr>
      <vt:lpstr>Arial</vt:lpstr>
      <vt:lpstr>Montserrat</vt:lpstr>
      <vt:lpstr>Söhne</vt:lpstr>
      <vt:lpstr>D+B_Folienmaster</vt:lpstr>
      <vt:lpstr>think-cell Folie</vt:lpstr>
      <vt:lpstr>  „B&amp;G Display study 2023“  Retailer Interviews S Secondary Placements in Grocery</vt:lpstr>
      <vt:lpstr>Retailer survey  „Edeka &amp; REWE“</vt:lpstr>
      <vt:lpstr>PowerPoint-Präsentation</vt:lpstr>
      <vt:lpstr>Secondary placements/industry displays more important than pallets and store  furniture; enduring secondary placements also relevant</vt:lpstr>
      <vt:lpstr>Retailers already tapping into secondary placement potential effectively  - from their own perspective</vt:lpstr>
      <vt:lpstr>Industry agreements take priority – Headquarter has little influence</vt:lpstr>
      <vt:lpstr>Sales &amp; revenue are top criteria</vt:lpstr>
      <vt:lpstr>Simple stocking after promotion (leftovers) and simple-set up are the  key decision criteria for a display</vt:lpstr>
      <vt:lpstr>Sustainability is important, but decoration is more important (except for VMG);  Paper is the preferred material</vt:lpstr>
      <vt:lpstr>Overfill after Price Off at Nr. 2; Multibuy (VMK), add-ons at REWE,  other mechanisms 'weaker' (raffle, coupon)</vt:lpstr>
      <vt:lpstr>TOP: Red Bull, Lorenz, Coca-Cola, as well as Funny Frisch and Lindt, are the most attractive secondary placements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art Factory</dc:creator>
  <cp:lastModifiedBy>Jens Ohlig</cp:lastModifiedBy>
  <cp:revision>1418</cp:revision>
  <cp:lastPrinted>2023-09-23T13:28:18Z</cp:lastPrinted>
  <dcterms:created xsi:type="dcterms:W3CDTF">2021-02-23T11:09:20Z</dcterms:created>
  <dcterms:modified xsi:type="dcterms:W3CDTF">2023-11-03T09:04:44Z</dcterms:modified>
</cp:coreProperties>
</file>